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1.xml" ContentType="application/vnd.openxmlformats-officedocument.drawingml.chartshape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60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73" r:id="rId6"/>
  </p:sldMasterIdLst>
  <p:notesMasterIdLst>
    <p:notesMasterId r:id="rId26"/>
  </p:notesMasterIdLst>
  <p:sldIdLst>
    <p:sldId id="2147475743" r:id="rId7"/>
    <p:sldId id="2147475739" r:id="rId8"/>
    <p:sldId id="2147475516" r:id="rId9"/>
    <p:sldId id="2147475642" r:id="rId10"/>
    <p:sldId id="2147475744" r:id="rId11"/>
    <p:sldId id="2147475456" r:id="rId12"/>
    <p:sldId id="2147475455" r:id="rId13"/>
    <p:sldId id="2147475746" r:id="rId14"/>
    <p:sldId id="2147475741" r:id="rId15"/>
    <p:sldId id="2147475740" r:id="rId16"/>
    <p:sldId id="2147475625" r:id="rId17"/>
    <p:sldId id="2147475652" r:id="rId18"/>
    <p:sldId id="2147475677" r:id="rId19"/>
    <p:sldId id="2147475742" r:id="rId20"/>
    <p:sldId id="2147475685" r:id="rId21"/>
    <p:sldId id="2147475686" r:id="rId22"/>
    <p:sldId id="10262" r:id="rId23"/>
    <p:sldId id="2147475687" r:id="rId24"/>
    <p:sldId id="313" r:id="rId25"/>
  </p:sldIdLst>
  <p:sldSz cx="12192000" cy="6858000"/>
  <p:notesSz cx="10020300" cy="68881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uro Scalia" initials="MS" lastIdx="1" clrIdx="0">
    <p:extLst>
      <p:ext uri="{19B8F6BF-5375-455C-9EA6-DF929625EA0E}">
        <p15:presenceInfo xmlns:p15="http://schemas.microsoft.com/office/powerpoint/2012/main" userId="Mauro Scali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006666"/>
    <a:srgbClr val="E0C422"/>
    <a:srgbClr val="3990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2B32E11-45FD-4807-AEF6-230408291355}" v="84" dt="2024-06-10T21:33:41.6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380" y="5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irk Vantyghem" userId="8ed8fe8c-e798-4a4c-831e-090e598803cc" providerId="ADAL" clId="{F2B32E11-45FD-4807-AEF6-230408291355}"/>
    <pc:docChg chg="undo custSel addSld delSld modSld">
      <pc:chgData name="Dirk Vantyghem" userId="8ed8fe8c-e798-4a4c-831e-090e598803cc" providerId="ADAL" clId="{F2B32E11-45FD-4807-AEF6-230408291355}" dt="2024-06-10T21:34:46.619" v="180" actId="478"/>
      <pc:docMkLst>
        <pc:docMk/>
      </pc:docMkLst>
      <pc:sldChg chg="del">
        <pc:chgData name="Dirk Vantyghem" userId="8ed8fe8c-e798-4a4c-831e-090e598803cc" providerId="ADAL" clId="{F2B32E11-45FD-4807-AEF6-230408291355}" dt="2024-06-10T21:23:09.850" v="24" actId="47"/>
        <pc:sldMkLst>
          <pc:docMk/>
          <pc:sldMk cId="2069575801" sldId="1543"/>
        </pc:sldMkLst>
      </pc:sldChg>
      <pc:sldChg chg="del">
        <pc:chgData name="Dirk Vantyghem" userId="8ed8fe8c-e798-4a4c-831e-090e598803cc" providerId="ADAL" clId="{F2B32E11-45FD-4807-AEF6-230408291355}" dt="2024-06-10T21:14:12.889" v="18" actId="47"/>
        <pc:sldMkLst>
          <pc:docMk/>
          <pc:sldMk cId="2981442879" sldId="1547"/>
        </pc:sldMkLst>
      </pc:sldChg>
      <pc:sldChg chg="add">
        <pc:chgData name="Dirk Vantyghem" userId="8ed8fe8c-e798-4a4c-831e-090e598803cc" providerId="ADAL" clId="{F2B32E11-45FD-4807-AEF6-230408291355}" dt="2024-06-10T21:16:33.815" v="20"/>
        <pc:sldMkLst>
          <pc:docMk/>
          <pc:sldMk cId="2298331984" sldId="2147475516"/>
        </pc:sldMkLst>
      </pc:sldChg>
      <pc:sldChg chg="delSp modSp mod">
        <pc:chgData name="Dirk Vantyghem" userId="8ed8fe8c-e798-4a4c-831e-090e598803cc" providerId="ADAL" clId="{F2B32E11-45FD-4807-AEF6-230408291355}" dt="2024-06-10T21:34:46.619" v="180" actId="478"/>
        <pc:sldMkLst>
          <pc:docMk/>
          <pc:sldMk cId="1075940746" sldId="2147475625"/>
        </pc:sldMkLst>
        <pc:spChg chg="del">
          <ac:chgData name="Dirk Vantyghem" userId="8ed8fe8c-e798-4a4c-831e-090e598803cc" providerId="ADAL" clId="{F2B32E11-45FD-4807-AEF6-230408291355}" dt="2024-06-10T21:34:46.619" v="180" actId="478"/>
          <ac:spMkLst>
            <pc:docMk/>
            <pc:sldMk cId="1075940746" sldId="2147475625"/>
            <ac:spMk id="10" creationId="{B62D3CED-8202-B41E-3B87-3CBA270D8BE9}"/>
          </ac:spMkLst>
        </pc:spChg>
        <pc:spChg chg="mod">
          <ac:chgData name="Dirk Vantyghem" userId="8ed8fe8c-e798-4a4c-831e-090e598803cc" providerId="ADAL" clId="{F2B32E11-45FD-4807-AEF6-230408291355}" dt="2024-06-10T21:34:43.781" v="179" actId="1076"/>
          <ac:spMkLst>
            <pc:docMk/>
            <pc:sldMk cId="1075940746" sldId="2147475625"/>
            <ac:spMk id="11" creationId="{A8C3A60F-8B94-D4A1-DF96-4FBEE95A7D06}"/>
          </ac:spMkLst>
        </pc:spChg>
      </pc:sldChg>
      <pc:sldChg chg="add">
        <pc:chgData name="Dirk Vantyghem" userId="8ed8fe8c-e798-4a4c-831e-090e598803cc" providerId="ADAL" clId="{F2B32E11-45FD-4807-AEF6-230408291355}" dt="2024-06-10T21:16:51.093" v="21"/>
        <pc:sldMkLst>
          <pc:docMk/>
          <pc:sldMk cId="1644886118" sldId="2147475642"/>
        </pc:sldMkLst>
      </pc:sldChg>
      <pc:sldChg chg="add del">
        <pc:chgData name="Dirk Vantyghem" userId="8ed8fe8c-e798-4a4c-831e-090e598803cc" providerId="ADAL" clId="{F2B32E11-45FD-4807-AEF6-230408291355}" dt="2024-06-10T21:18:00.726" v="23" actId="47"/>
        <pc:sldMkLst>
          <pc:docMk/>
          <pc:sldMk cId="1384669967" sldId="2147475685"/>
        </pc:sldMkLst>
      </pc:sldChg>
      <pc:sldChg chg="add">
        <pc:chgData name="Dirk Vantyghem" userId="8ed8fe8c-e798-4a4c-831e-090e598803cc" providerId="ADAL" clId="{F2B32E11-45FD-4807-AEF6-230408291355}" dt="2024-06-10T21:15:26.525" v="19"/>
        <pc:sldMkLst>
          <pc:docMk/>
          <pc:sldMk cId="969044713" sldId="2147475739"/>
        </pc:sldMkLst>
      </pc:sldChg>
      <pc:sldChg chg="addSp delSp modSp mod delAnim modAnim">
        <pc:chgData name="Dirk Vantyghem" userId="8ed8fe8c-e798-4a4c-831e-090e598803cc" providerId="ADAL" clId="{F2B32E11-45FD-4807-AEF6-230408291355}" dt="2024-06-10T21:34:19.076" v="178" actId="1038"/>
        <pc:sldMkLst>
          <pc:docMk/>
          <pc:sldMk cId="3588806672" sldId="2147475740"/>
        </pc:sldMkLst>
        <pc:spChg chg="add mod">
          <ac:chgData name="Dirk Vantyghem" userId="8ed8fe8c-e798-4a4c-831e-090e598803cc" providerId="ADAL" clId="{F2B32E11-45FD-4807-AEF6-230408291355}" dt="2024-06-10T21:31:57.657" v="101" actId="1038"/>
          <ac:spMkLst>
            <pc:docMk/>
            <pc:sldMk cId="3588806672" sldId="2147475740"/>
            <ac:spMk id="2" creationId="{D3612689-7439-6FEA-B6B9-C094B2C5548C}"/>
          </ac:spMkLst>
        </pc:spChg>
        <pc:spChg chg="mod">
          <ac:chgData name="Dirk Vantyghem" userId="8ed8fe8c-e798-4a4c-831e-090e598803cc" providerId="ADAL" clId="{F2B32E11-45FD-4807-AEF6-230408291355}" dt="2024-06-10T21:34:19.076" v="178" actId="1038"/>
          <ac:spMkLst>
            <pc:docMk/>
            <pc:sldMk cId="3588806672" sldId="2147475740"/>
            <ac:spMk id="40" creationId="{16CDAE3D-9C7E-855C-90C8-4385D0DE2268}"/>
          </ac:spMkLst>
        </pc:spChg>
        <pc:picChg chg="del">
          <ac:chgData name="Dirk Vantyghem" userId="8ed8fe8c-e798-4a4c-831e-090e598803cc" providerId="ADAL" clId="{F2B32E11-45FD-4807-AEF6-230408291355}" dt="2024-06-10T21:32:38.424" v="102" actId="478"/>
          <ac:picMkLst>
            <pc:docMk/>
            <pc:sldMk cId="3588806672" sldId="2147475740"/>
            <ac:picMk id="4" creationId="{159A2FDF-E851-8D51-1A2E-4AC948516DB4}"/>
          </ac:picMkLst>
        </pc:picChg>
        <pc:picChg chg="mod">
          <ac:chgData name="Dirk Vantyghem" userId="8ed8fe8c-e798-4a4c-831e-090e598803cc" providerId="ADAL" clId="{F2B32E11-45FD-4807-AEF6-230408291355}" dt="2024-06-10T21:31:38.384" v="83" actId="14100"/>
          <ac:picMkLst>
            <pc:docMk/>
            <pc:sldMk cId="3588806672" sldId="2147475740"/>
            <ac:picMk id="5" creationId="{F616EDB7-8A7B-C86C-2EB4-B5CEE16D3DC5}"/>
          </ac:picMkLst>
        </pc:picChg>
        <pc:picChg chg="mod">
          <ac:chgData name="Dirk Vantyghem" userId="8ed8fe8c-e798-4a4c-831e-090e598803cc" providerId="ADAL" clId="{F2B32E11-45FD-4807-AEF6-230408291355}" dt="2024-06-10T21:31:33.492" v="82" actId="14100"/>
          <ac:picMkLst>
            <pc:docMk/>
            <pc:sldMk cId="3588806672" sldId="2147475740"/>
            <ac:picMk id="6" creationId="{1348DC02-6D92-5A73-DCD4-346AA6E02252}"/>
          </ac:picMkLst>
        </pc:picChg>
        <pc:picChg chg="mod">
          <ac:chgData name="Dirk Vantyghem" userId="8ed8fe8c-e798-4a4c-831e-090e598803cc" providerId="ADAL" clId="{F2B32E11-45FD-4807-AEF6-230408291355}" dt="2024-06-10T21:34:14.618" v="141" actId="1038"/>
          <ac:picMkLst>
            <pc:docMk/>
            <pc:sldMk cId="3588806672" sldId="2147475740"/>
            <ac:picMk id="13" creationId="{11289C46-3F8A-1E25-51E2-4064A63B3453}"/>
          </ac:picMkLst>
        </pc:picChg>
        <pc:picChg chg="mod">
          <ac:chgData name="Dirk Vantyghem" userId="8ed8fe8c-e798-4a4c-831e-090e598803cc" providerId="ADAL" clId="{F2B32E11-45FD-4807-AEF6-230408291355}" dt="2024-06-10T21:34:14.618" v="141" actId="1038"/>
          <ac:picMkLst>
            <pc:docMk/>
            <pc:sldMk cId="3588806672" sldId="2147475740"/>
            <ac:picMk id="14" creationId="{09F5A741-DF8A-DDF9-19A1-1959E92E2110}"/>
          </ac:picMkLst>
        </pc:picChg>
        <pc:picChg chg="mod">
          <ac:chgData name="Dirk Vantyghem" userId="8ed8fe8c-e798-4a4c-831e-090e598803cc" providerId="ADAL" clId="{F2B32E11-45FD-4807-AEF6-230408291355}" dt="2024-06-10T21:34:14.618" v="141" actId="1038"/>
          <ac:picMkLst>
            <pc:docMk/>
            <pc:sldMk cId="3588806672" sldId="2147475740"/>
            <ac:picMk id="15" creationId="{B38D94BA-03D4-438E-502D-8E528F1EF748}"/>
          </ac:picMkLst>
        </pc:picChg>
        <pc:picChg chg="mod">
          <ac:chgData name="Dirk Vantyghem" userId="8ed8fe8c-e798-4a4c-831e-090e598803cc" providerId="ADAL" clId="{F2B32E11-45FD-4807-AEF6-230408291355}" dt="2024-06-10T21:34:14.618" v="141" actId="1038"/>
          <ac:picMkLst>
            <pc:docMk/>
            <pc:sldMk cId="3588806672" sldId="2147475740"/>
            <ac:picMk id="16" creationId="{5EEEC520-F00D-8977-40AB-2934F9605C7F}"/>
          </ac:picMkLst>
        </pc:picChg>
        <pc:picChg chg="add mod">
          <ac:chgData name="Dirk Vantyghem" userId="8ed8fe8c-e798-4a4c-831e-090e598803cc" providerId="ADAL" clId="{F2B32E11-45FD-4807-AEF6-230408291355}" dt="2024-06-10T21:32:51.818" v="106" actId="208"/>
          <ac:picMkLst>
            <pc:docMk/>
            <pc:sldMk cId="3588806672" sldId="2147475740"/>
            <ac:picMk id="17" creationId="{BE5BCF8D-9FEE-FAB6-53C1-69A68677B32B}"/>
          </ac:picMkLst>
        </pc:picChg>
        <pc:picChg chg="mod">
          <ac:chgData name="Dirk Vantyghem" userId="8ed8fe8c-e798-4a4c-831e-090e598803cc" providerId="ADAL" clId="{F2B32E11-45FD-4807-AEF6-230408291355}" dt="2024-06-10T21:31:28.612" v="81" actId="14100"/>
          <ac:picMkLst>
            <pc:docMk/>
            <pc:sldMk cId="3588806672" sldId="2147475740"/>
            <ac:picMk id="22" creationId="{B1057D5D-7DFE-C14D-C70D-C81310103D0E}"/>
          </ac:picMkLst>
        </pc:picChg>
      </pc:sldChg>
      <pc:sldChg chg="addSp delSp modSp mod">
        <pc:chgData name="Dirk Vantyghem" userId="8ed8fe8c-e798-4a4c-831e-090e598803cc" providerId="ADAL" clId="{F2B32E11-45FD-4807-AEF6-230408291355}" dt="2024-06-10T21:13:31.729" v="17" actId="20577"/>
        <pc:sldMkLst>
          <pc:docMk/>
          <pc:sldMk cId="3805845865" sldId="2147475743"/>
        </pc:sldMkLst>
        <pc:spChg chg="mod">
          <ac:chgData name="Dirk Vantyghem" userId="8ed8fe8c-e798-4a4c-831e-090e598803cc" providerId="ADAL" clId="{F2B32E11-45FD-4807-AEF6-230408291355}" dt="2024-06-10T21:13:21.460" v="7" actId="20577"/>
          <ac:spMkLst>
            <pc:docMk/>
            <pc:sldMk cId="3805845865" sldId="2147475743"/>
            <ac:spMk id="3" creationId="{FA2A9560-F4AD-CBB7-20B0-A48E74F8316F}"/>
          </ac:spMkLst>
        </pc:spChg>
        <pc:spChg chg="mod">
          <ac:chgData name="Dirk Vantyghem" userId="8ed8fe8c-e798-4a4c-831e-090e598803cc" providerId="ADAL" clId="{F2B32E11-45FD-4807-AEF6-230408291355}" dt="2024-06-10T21:13:31.729" v="17" actId="20577"/>
          <ac:spMkLst>
            <pc:docMk/>
            <pc:sldMk cId="3805845865" sldId="2147475743"/>
            <ac:spMk id="4" creationId="{75264D6B-93AA-5E76-0801-5A0396111638}"/>
          </ac:spMkLst>
        </pc:spChg>
        <pc:picChg chg="del">
          <ac:chgData name="Dirk Vantyghem" userId="8ed8fe8c-e798-4a4c-831e-090e598803cc" providerId="ADAL" clId="{F2B32E11-45FD-4807-AEF6-230408291355}" dt="2024-06-10T21:12:50.480" v="0" actId="478"/>
          <ac:picMkLst>
            <pc:docMk/>
            <pc:sldMk cId="3805845865" sldId="2147475743"/>
            <ac:picMk id="2" creationId="{0A78BEEB-D207-0ABB-779A-687053862CB7}"/>
          </ac:picMkLst>
        </pc:picChg>
        <pc:picChg chg="add mod">
          <ac:chgData name="Dirk Vantyghem" userId="8ed8fe8c-e798-4a4c-831e-090e598803cc" providerId="ADAL" clId="{F2B32E11-45FD-4807-AEF6-230408291355}" dt="2024-06-10T21:13:10.901" v="3" actId="14100"/>
          <ac:picMkLst>
            <pc:docMk/>
            <pc:sldMk cId="3805845865" sldId="2147475743"/>
            <ac:picMk id="5" creationId="{AEEAA8EB-986F-1FB4-7A46-7DA673047D0F}"/>
          </ac:picMkLst>
        </pc:picChg>
      </pc:sldChg>
      <pc:sldChg chg="new del">
        <pc:chgData name="Dirk Vantyghem" userId="8ed8fe8c-e798-4a4c-831e-090e598803cc" providerId="ADAL" clId="{F2B32E11-45FD-4807-AEF6-230408291355}" dt="2024-06-10T21:30:55.639" v="80" actId="47"/>
        <pc:sldMkLst>
          <pc:docMk/>
          <pc:sldMk cId="441618129" sldId="2147475745"/>
        </pc:sldMkLst>
      </pc:sldChg>
      <pc:sldChg chg="addSp delSp modSp new mod">
        <pc:chgData name="Dirk Vantyghem" userId="8ed8fe8c-e798-4a4c-831e-090e598803cc" providerId="ADAL" clId="{F2B32E11-45FD-4807-AEF6-230408291355}" dt="2024-06-10T21:29:12.523" v="79"/>
        <pc:sldMkLst>
          <pc:docMk/>
          <pc:sldMk cId="2097590572" sldId="2147475746"/>
        </pc:sldMkLst>
        <pc:spChg chg="del">
          <ac:chgData name="Dirk Vantyghem" userId="8ed8fe8c-e798-4a4c-831e-090e598803cc" providerId="ADAL" clId="{F2B32E11-45FD-4807-AEF6-230408291355}" dt="2024-06-10T21:24:55.065" v="27" actId="478"/>
          <ac:spMkLst>
            <pc:docMk/>
            <pc:sldMk cId="2097590572" sldId="2147475746"/>
            <ac:spMk id="2" creationId="{00AF020B-F7E8-BDD2-41D6-3E9A5F3588A4}"/>
          </ac:spMkLst>
        </pc:spChg>
        <pc:spChg chg="del">
          <ac:chgData name="Dirk Vantyghem" userId="8ed8fe8c-e798-4a4c-831e-090e598803cc" providerId="ADAL" clId="{F2B32E11-45FD-4807-AEF6-230408291355}" dt="2024-06-10T21:24:56.344" v="28" actId="478"/>
          <ac:spMkLst>
            <pc:docMk/>
            <pc:sldMk cId="2097590572" sldId="2147475746"/>
            <ac:spMk id="3" creationId="{43ADEE9E-AF1C-8133-EE2B-BC004FC7F6BA}"/>
          </ac:spMkLst>
        </pc:spChg>
        <pc:graphicFrameChg chg="add mod">
          <ac:chgData name="Dirk Vantyghem" userId="8ed8fe8c-e798-4a4c-831e-090e598803cc" providerId="ADAL" clId="{F2B32E11-45FD-4807-AEF6-230408291355}" dt="2024-06-10T21:29:12.523" v="79"/>
          <ac:graphicFrameMkLst>
            <pc:docMk/>
            <pc:sldMk cId="2097590572" sldId="2147475746"/>
            <ac:graphicFrameMk id="4" creationId="{CD32C854-2FA6-44CB-BBFF-FF16391E2AAE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32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fr-FR" sz="3200">
                <a:solidFill>
                  <a:schemeClr val="tx1"/>
                </a:solidFill>
              </a:rPr>
              <a:t>Turnover</a:t>
            </a:r>
          </a:p>
        </c:rich>
      </c:tx>
      <c:layout>
        <c:manualLayout>
          <c:xMode val="edge"/>
          <c:yMode val="edge"/>
          <c:x val="0.47896082767051368"/>
          <c:y val="0.411145241706466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32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28188448297558694"/>
          <c:y val="1.5007825609913514E-2"/>
          <c:w val="0.56798077306104022"/>
          <c:h val="0.93559055118110235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99-41D7-A309-39B8F9D1A08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99-41D7-A309-39B8F9D1A08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99-41D7-A309-39B8F9D1A08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99-41D7-A309-39B8F9D1A08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599-41D7-A309-39B8F9D1A08B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599-41D7-A309-39B8F9D1A08B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599-41D7-A309-39B8F9D1A08B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599-41D7-A309-39B8F9D1A08B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599-41D7-A309-39B8F9D1A08B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599-41D7-A309-39B8F9D1A08B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599-41D7-A309-39B8F9D1A08B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599-41D7-A309-39B8F9D1A08B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748078E-CCD7-43FD-BF80-0F9191486E98}" type="CATEGORYNAME">
                      <a:rPr lang="en-US">
                        <a:solidFill>
                          <a:schemeClr val="bg1"/>
                        </a:solidFill>
                      </a:rPr>
                      <a:pPr>
                        <a:defRPr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baseline="0" dirty="0">
                        <a:solidFill>
                          <a:schemeClr val="bg1"/>
                        </a:solidFill>
                      </a:rPr>
                      <a:t>
</a:t>
                    </a:r>
                    <a:fld id="{C6A42E65-36C2-45AC-8F2A-DB96F620752A}" type="VALUE">
                      <a:rPr lang="en-US" baseline="0">
                        <a:solidFill>
                          <a:schemeClr val="bg1"/>
                        </a:solidFill>
                      </a:rPr>
                      <a:pPr>
                        <a:defRPr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599-41D7-A309-39B8F9D1A08B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599-41D7-A309-39B8F9D1A08B}"/>
                </c:ext>
              </c:extLst>
            </c:dLbl>
            <c:dLbl>
              <c:idx val="6"/>
              <c:layout>
                <c:manualLayout>
                  <c:x val="-0.1184870813549094"/>
                  <c:y val="9.814422409649309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B599-41D7-A309-39B8F9D1A08B}"/>
                </c:ext>
              </c:extLst>
            </c:dLbl>
            <c:dLbl>
              <c:idx val="7"/>
              <c:layout>
                <c:manualLayout>
                  <c:x val="-0.11596607962395393"/>
                  <c:y val="-3.435047843377274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B599-41D7-A309-39B8F9D1A08B}"/>
                </c:ext>
              </c:extLst>
            </c:dLbl>
            <c:dLbl>
              <c:idx val="8"/>
              <c:layout>
                <c:manualLayout>
                  <c:x val="-0.11596607962395389"/>
                  <c:y val="-8.832980168684422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B599-41D7-A309-39B8F9D1A08B}"/>
                </c:ext>
              </c:extLst>
            </c:dLbl>
            <c:dLbl>
              <c:idx val="9"/>
              <c:layout>
                <c:manualLayout>
                  <c:x val="-6.8067046735799025E-2"/>
                  <c:y val="-0.12268028012061694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B599-41D7-A309-39B8F9D1A08B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B599-41D7-A309-39B8F9D1A08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BS_MS!$AQ$11:$AQ$21</c:f>
              <c:strCache>
                <c:ptCount val="11"/>
                <c:pt idx="0">
                  <c:v>Italy</c:v>
                </c:pt>
                <c:pt idx="1">
                  <c:v>Germany</c:v>
                </c:pt>
                <c:pt idx="2">
                  <c:v>France</c:v>
                </c:pt>
                <c:pt idx="3">
                  <c:v>Spain</c:v>
                </c:pt>
                <c:pt idx="4">
                  <c:v>Portugal</c:v>
                </c:pt>
                <c:pt idx="5">
                  <c:v>Poland</c:v>
                </c:pt>
                <c:pt idx="6">
                  <c:v>Belgium</c:v>
                </c:pt>
                <c:pt idx="7">
                  <c:v>Austria</c:v>
                </c:pt>
                <c:pt idx="8">
                  <c:v>Romania</c:v>
                </c:pt>
                <c:pt idx="9">
                  <c:v>Czechia</c:v>
                </c:pt>
                <c:pt idx="10">
                  <c:v>Other MS</c:v>
                </c:pt>
              </c:strCache>
            </c:strRef>
          </c:cat>
          <c:val>
            <c:numRef>
              <c:f>SBS_MS!$AT$11:$AT$21</c:f>
              <c:numCache>
                <c:formatCode>0%</c:formatCode>
                <c:ptCount val="11"/>
                <c:pt idx="0">
                  <c:v>0.35646585087047328</c:v>
                </c:pt>
                <c:pt idx="1">
                  <c:v>0.15007680450763466</c:v>
                </c:pt>
                <c:pt idx="2">
                  <c:v>9.2301493207082752E-2</c:v>
                </c:pt>
                <c:pt idx="3">
                  <c:v>7.3561060579306475E-2</c:v>
                </c:pt>
                <c:pt idx="4">
                  <c:v>5.2639964100364978E-2</c:v>
                </c:pt>
                <c:pt idx="5">
                  <c:v>4.249074960402862E-2</c:v>
                </c:pt>
                <c:pt idx="6">
                  <c:v>3.1179842036295279E-2</c:v>
                </c:pt>
                <c:pt idx="7">
                  <c:v>2.7348910199134109E-2</c:v>
                </c:pt>
                <c:pt idx="8">
                  <c:v>2.5550609324611565E-2</c:v>
                </c:pt>
                <c:pt idx="9">
                  <c:v>2.0021614129374109E-2</c:v>
                </c:pt>
                <c:pt idx="10">
                  <c:v>0.128363101441694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B599-41D7-A309-39B8F9D1A0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 Condensed" panose="020B0806030504020204" pitchFamily="34" charset="0"/>
                <a:ea typeface="Open Sans Condensed" panose="020B0806030504020204" pitchFamily="34" charset="0"/>
                <a:cs typeface="Open Sans Condensed" panose="020B0806030504020204" pitchFamily="34" charset="0"/>
              </a:defRPr>
            </a:pPr>
            <a:r>
              <a:rPr lang="fr-FR" sz="2000" b="1" dirty="0">
                <a:solidFill>
                  <a:srgbClr val="006666"/>
                </a:solidFill>
              </a:rPr>
              <a:t>T&amp;C main </a:t>
            </a:r>
            <a:r>
              <a:rPr lang="fr-FR" sz="2000" b="1" dirty="0" err="1">
                <a:solidFill>
                  <a:srgbClr val="006666"/>
                </a:solidFill>
              </a:rPr>
              <a:t>customers</a:t>
            </a:r>
            <a:endParaRPr lang="fr-FR" sz="2000" b="1" dirty="0">
              <a:solidFill>
                <a:srgbClr val="006666"/>
              </a:solidFill>
            </a:endParaRPr>
          </a:p>
          <a:p>
            <a:pPr>
              <a:defRPr sz="1862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 Condensed" panose="020B0806030504020204" pitchFamily="34" charset="0"/>
                <a:ea typeface="Open Sans Condensed" panose="020B0806030504020204" pitchFamily="34" charset="0"/>
                <a:cs typeface="Open Sans Condensed" panose="020B0806030504020204" pitchFamily="34" charset="0"/>
              </a:defRPr>
            </a:pPr>
            <a:r>
              <a:rPr lang="fr-FR" sz="1600" b="1" dirty="0" err="1">
                <a:solidFill>
                  <a:srgbClr val="006666"/>
                </a:solidFill>
                <a:latin typeface="Open Sans Condensed Light" panose="020B0306030504020204" pitchFamily="34" charset="0"/>
                <a:ea typeface="Open Sans Condensed Light" panose="020B0306030504020204" pitchFamily="34" charset="0"/>
                <a:cs typeface="Open Sans Condensed Light" panose="020B0306030504020204" pitchFamily="34" charset="0"/>
              </a:rPr>
              <a:t>Mio</a:t>
            </a:r>
            <a:r>
              <a:rPr lang="fr-FR" sz="1600" b="1" dirty="0">
                <a:solidFill>
                  <a:srgbClr val="006666"/>
                </a:solidFill>
                <a:latin typeface="Open Sans Condensed Light" panose="020B0306030504020204" pitchFamily="34" charset="0"/>
                <a:ea typeface="Open Sans Condensed Light" panose="020B0306030504020204" pitchFamily="34" charset="0"/>
                <a:cs typeface="Open Sans Condensed Light" panose="020B0306030504020204" pitchFamily="34" charset="0"/>
              </a:rPr>
              <a:t> EUR</a:t>
            </a:r>
          </a:p>
        </c:rich>
      </c:tx>
      <c:layout>
        <c:manualLayout>
          <c:xMode val="edge"/>
          <c:yMode val="edge"/>
          <c:x val="0.34156180508519135"/>
          <c:y val="2.423180616420684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Open Sans Condensed" panose="020B0806030504020204" pitchFamily="34" charset="0"/>
              <a:ea typeface="Open Sans Condensed" panose="020B0806030504020204" pitchFamily="34" charset="0"/>
              <a:cs typeface="Open Sans Condensed" panose="020B0806030504020204" pitchFamily="34" charset="0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 Condensed" panose="020B0806030504020204" pitchFamily="34" charset="0"/>
                    <a:ea typeface="Open Sans Condensed" panose="020B0806030504020204" pitchFamily="34" charset="0"/>
                    <a:cs typeface="Open Sans Condensed" panose="020B0806030504020204" pitchFamily="34" charset="0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Switzerland</c:v>
                </c:pt>
                <c:pt idx="1">
                  <c:v>United Kingdom</c:v>
                </c:pt>
                <c:pt idx="2">
                  <c:v>United States</c:v>
                </c:pt>
                <c:pt idx="3">
                  <c:v>China</c:v>
                </c:pt>
                <c:pt idx="4">
                  <c:v>Türkiye</c:v>
                </c:pt>
                <c:pt idx="5">
                  <c:v>Morocco</c:v>
                </c:pt>
                <c:pt idx="6">
                  <c:v>Hong Kong</c:v>
                </c:pt>
                <c:pt idx="7">
                  <c:v>Russia</c:v>
                </c:pt>
                <c:pt idx="8">
                  <c:v>Japan</c:v>
                </c:pt>
                <c:pt idx="9">
                  <c:v>Korea, South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4548201753</c:v>
                </c:pt>
                <c:pt idx="1">
                  <c:v>8297995310</c:v>
                </c:pt>
                <c:pt idx="2">
                  <c:v>3943568609</c:v>
                </c:pt>
                <c:pt idx="3">
                  <c:v>2460307589</c:v>
                </c:pt>
                <c:pt idx="4">
                  <c:v>2562309241</c:v>
                </c:pt>
                <c:pt idx="5">
                  <c:v>1361351918</c:v>
                </c:pt>
                <c:pt idx="6">
                  <c:v>1843432223</c:v>
                </c:pt>
                <c:pt idx="7">
                  <c:v>4212210529</c:v>
                </c:pt>
                <c:pt idx="8">
                  <c:v>1735494275</c:v>
                </c:pt>
                <c:pt idx="9">
                  <c:v>709255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E7-42D4-A407-46F5D9C8721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 Condensed" panose="020B0806030504020204" pitchFamily="34" charset="0"/>
                    <a:ea typeface="Open Sans Condensed" panose="020B0806030504020204" pitchFamily="34" charset="0"/>
                    <a:cs typeface="Open Sans Condensed" panose="020B0806030504020204" pitchFamily="34" charset="0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Switzerland</c:v>
                </c:pt>
                <c:pt idx="1">
                  <c:v>United Kingdom</c:v>
                </c:pt>
                <c:pt idx="2">
                  <c:v>United States</c:v>
                </c:pt>
                <c:pt idx="3">
                  <c:v>China</c:v>
                </c:pt>
                <c:pt idx="4">
                  <c:v>Türkiye</c:v>
                </c:pt>
                <c:pt idx="5">
                  <c:v>Morocco</c:v>
                </c:pt>
                <c:pt idx="6">
                  <c:v>Hong Kong</c:v>
                </c:pt>
                <c:pt idx="7">
                  <c:v>Russia</c:v>
                </c:pt>
                <c:pt idx="8">
                  <c:v>Japan</c:v>
                </c:pt>
                <c:pt idx="9">
                  <c:v>Korea, South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8043174813</c:v>
                </c:pt>
                <c:pt idx="1">
                  <c:v>7806991376</c:v>
                </c:pt>
                <c:pt idx="2">
                  <c:v>7245567017</c:v>
                </c:pt>
                <c:pt idx="3">
                  <c:v>5510768086</c:v>
                </c:pt>
                <c:pt idx="4">
                  <c:v>3694645628</c:v>
                </c:pt>
                <c:pt idx="5">
                  <c:v>2195014341</c:v>
                </c:pt>
                <c:pt idx="6">
                  <c:v>2105252157</c:v>
                </c:pt>
                <c:pt idx="7">
                  <c:v>2039705945</c:v>
                </c:pt>
                <c:pt idx="8">
                  <c:v>2010634139</c:v>
                </c:pt>
                <c:pt idx="9">
                  <c:v>19100546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0E7-42D4-A407-46F5D9C872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1"/>
        <c:axId val="704473360"/>
        <c:axId val="1342387152"/>
      </c:barChart>
      <c:catAx>
        <c:axId val="704473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 Condensed" panose="020B0806030504020204" pitchFamily="34" charset="0"/>
                <a:ea typeface="Open Sans Condensed" panose="020B0806030504020204" pitchFamily="34" charset="0"/>
                <a:cs typeface="Open Sans Condensed" panose="020B0806030504020204" pitchFamily="34" charset="0"/>
              </a:defRPr>
            </a:pPr>
            <a:endParaRPr lang="fr-FR"/>
          </a:p>
        </c:txPr>
        <c:crossAx val="1342387152"/>
        <c:crosses val="autoZero"/>
        <c:auto val="1"/>
        <c:lblAlgn val="ctr"/>
        <c:lblOffset val="100"/>
        <c:noMultiLvlLbl val="0"/>
      </c:catAx>
      <c:valAx>
        <c:axId val="1342387152"/>
        <c:scaling>
          <c:orientation val="minMax"/>
          <c:max val="100000000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 Condensed" panose="020B0806030504020204" pitchFamily="34" charset="0"/>
                <a:ea typeface="Open Sans Condensed" panose="020B0806030504020204" pitchFamily="34" charset="0"/>
                <a:cs typeface="Open Sans Condensed" panose="020B0806030504020204" pitchFamily="34" charset="0"/>
              </a:defRPr>
            </a:pPr>
            <a:endParaRPr lang="fr-FR"/>
          </a:p>
        </c:txPr>
        <c:crossAx val="704473360"/>
        <c:crosses val="autoZero"/>
        <c:crossBetween val="between"/>
        <c:dispUnits>
          <c:builtInUnit val="million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33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Open Sans Condensed Light" panose="020B0306030504020204" pitchFamily="34" charset="0"/>
                      <a:ea typeface="Open Sans Condensed Light" panose="020B0306030504020204" pitchFamily="34" charset="0"/>
                      <a:cs typeface="Open Sans Condensed Light" panose="020B0306030504020204" pitchFamily="34" charset="0"/>
                    </a:defRPr>
                  </a:pPr>
                  <a:r>
                    <a:rPr lang="fr-FR" sz="1200" dirty="0" err="1">
                      <a:latin typeface="Open Sans Condensed" panose="020B0806030504020204" pitchFamily="34" charset="0"/>
                      <a:ea typeface="Open Sans Condensed" panose="020B0806030504020204" pitchFamily="34" charset="0"/>
                      <a:cs typeface="Open Sans Condensed" panose="020B0806030504020204" pitchFamily="34" charset="0"/>
                    </a:rPr>
                    <a:t>Mio</a:t>
                  </a:r>
                  <a:r>
                    <a:rPr lang="fr-FR" sz="1200" dirty="0">
                      <a:latin typeface="Open Sans Condensed" panose="020B0806030504020204" pitchFamily="34" charset="0"/>
                      <a:ea typeface="Open Sans Condensed" panose="020B0806030504020204" pitchFamily="34" charset="0"/>
                      <a:cs typeface="Open Sans Condensed" panose="020B0806030504020204" pitchFamily="34" charset="0"/>
                    </a:rPr>
                    <a:t> EUR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Open Sans Condensed Light" panose="020B0306030504020204" pitchFamily="34" charset="0"/>
                    <a:ea typeface="Open Sans Condensed Light" panose="020B0306030504020204" pitchFamily="34" charset="0"/>
                    <a:cs typeface="Open Sans Condensed Light" panose="020B0306030504020204" pitchFamily="34" charset="0"/>
                  </a:defRPr>
                </a:pPr>
                <a:endParaRPr lang="fr-FR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7352057507129299"/>
          <c:y val="0.21946163811069694"/>
          <c:w val="0.12893300164919405"/>
          <c:h val="6.32398753193328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 Condensed" panose="020B0806030504020204" pitchFamily="34" charset="0"/>
              <a:ea typeface="Open Sans Condensed" panose="020B0806030504020204" pitchFamily="34" charset="0"/>
              <a:cs typeface="Open Sans Condensed" panose="020B0806030504020204" pitchFamily="34" charset="0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Open Sans Condensed" panose="020B0806030504020204" pitchFamily="34" charset="0"/>
          <a:ea typeface="Open Sans Condensed" panose="020B0806030504020204" pitchFamily="34" charset="0"/>
          <a:cs typeface="Open Sans Condensed" panose="020B0806030504020204" pitchFamily="34" charset="0"/>
        </a:defRPr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 Condensed" panose="020B0806030504020204" pitchFamily="34" charset="0"/>
                <a:ea typeface="Open Sans Condensed" panose="020B0806030504020204" pitchFamily="34" charset="0"/>
                <a:cs typeface="Open Sans Condensed" panose="020B0806030504020204" pitchFamily="34" charset="0"/>
              </a:defRPr>
            </a:pPr>
            <a:r>
              <a:rPr lang="fr-FR" sz="2000" b="1" dirty="0">
                <a:solidFill>
                  <a:srgbClr val="006666"/>
                </a:solidFill>
              </a:rPr>
              <a:t>T&amp;C main </a:t>
            </a:r>
            <a:r>
              <a:rPr lang="fr-FR" sz="2000" b="1" dirty="0" err="1">
                <a:solidFill>
                  <a:srgbClr val="006666"/>
                </a:solidFill>
              </a:rPr>
              <a:t>suppliers</a:t>
            </a:r>
            <a:endParaRPr lang="fr-FR" sz="2000" b="1" dirty="0">
              <a:solidFill>
                <a:srgbClr val="006666"/>
              </a:solidFill>
            </a:endParaRPr>
          </a:p>
          <a:p>
            <a:pPr>
              <a:defRPr sz="1862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 Condensed" panose="020B0806030504020204" pitchFamily="34" charset="0"/>
                <a:ea typeface="Open Sans Condensed" panose="020B0806030504020204" pitchFamily="34" charset="0"/>
                <a:cs typeface="Open Sans Condensed" panose="020B0806030504020204" pitchFamily="34" charset="0"/>
              </a:defRPr>
            </a:pPr>
            <a:r>
              <a:rPr lang="fr-FR" sz="1600" b="1" dirty="0" err="1">
                <a:solidFill>
                  <a:srgbClr val="006666"/>
                </a:solidFill>
                <a:latin typeface="Open Sans Condensed Light" panose="020B0306030504020204" pitchFamily="34" charset="0"/>
                <a:ea typeface="Open Sans Condensed Light" panose="020B0306030504020204" pitchFamily="34" charset="0"/>
                <a:cs typeface="Open Sans Condensed Light" panose="020B0306030504020204" pitchFamily="34" charset="0"/>
              </a:rPr>
              <a:t>Mio</a:t>
            </a:r>
            <a:r>
              <a:rPr lang="fr-FR" sz="1600" b="1" dirty="0">
                <a:solidFill>
                  <a:srgbClr val="006666"/>
                </a:solidFill>
                <a:latin typeface="Open Sans Condensed Light" panose="020B0306030504020204" pitchFamily="34" charset="0"/>
                <a:ea typeface="Open Sans Condensed Light" panose="020B0306030504020204" pitchFamily="34" charset="0"/>
                <a:cs typeface="Open Sans Condensed Light" panose="020B0306030504020204" pitchFamily="34" charset="0"/>
              </a:rPr>
              <a:t> EUR</a:t>
            </a:r>
          </a:p>
        </c:rich>
      </c:tx>
      <c:layout>
        <c:manualLayout>
          <c:xMode val="edge"/>
          <c:yMode val="edge"/>
          <c:x val="0.34156180508519135"/>
          <c:y val="2.423180616420684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Open Sans Condensed" panose="020B0806030504020204" pitchFamily="34" charset="0"/>
              <a:ea typeface="Open Sans Condensed" panose="020B0806030504020204" pitchFamily="34" charset="0"/>
              <a:cs typeface="Open Sans Condensed" panose="020B0806030504020204" pitchFamily="34" charset="0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9.0787241790415626E-2"/>
          <c:y val="0.19190290977792185"/>
          <c:w val="0.86317215622402554"/>
          <c:h val="0.580221958940497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rgbClr val="E5FF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 Condensed" panose="020B0806030504020204" pitchFamily="34" charset="0"/>
                    <a:ea typeface="Open Sans Condensed" panose="020B0806030504020204" pitchFamily="34" charset="0"/>
                    <a:cs typeface="Open Sans Condensed" panose="020B0806030504020204" pitchFamily="34" charset="0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China</c:v>
                </c:pt>
                <c:pt idx="1">
                  <c:v>Bangladesh</c:v>
                </c:pt>
                <c:pt idx="2">
                  <c:v>Türkiye</c:v>
                </c:pt>
                <c:pt idx="3">
                  <c:v>India</c:v>
                </c:pt>
                <c:pt idx="4">
                  <c:v>Pakistan</c:v>
                </c:pt>
                <c:pt idx="5">
                  <c:v>Vietnam</c:v>
                </c:pt>
                <c:pt idx="6">
                  <c:v>Cambodia</c:v>
                </c:pt>
                <c:pt idx="7">
                  <c:v>United Kingdom</c:v>
                </c:pt>
                <c:pt idx="8">
                  <c:v>Morocco</c:v>
                </c:pt>
                <c:pt idx="9">
                  <c:v>Tunisia</c:v>
                </c:pt>
              </c:strCache>
            </c:strRef>
          </c:cat>
          <c:val>
            <c:numRef>
              <c:f>Sheet1!$B$2:$B$11</c:f>
              <c:numCache>
                <c:formatCode>#,##0</c:formatCode>
                <c:ptCount val="10"/>
                <c:pt idx="0">
                  <c:v>28978302342</c:v>
                </c:pt>
                <c:pt idx="1">
                  <c:v>8520862658</c:v>
                </c:pt>
                <c:pt idx="2">
                  <c:v>11188291893</c:v>
                </c:pt>
                <c:pt idx="3">
                  <c:v>5138055598</c:v>
                </c:pt>
                <c:pt idx="4">
                  <c:v>2428503678</c:v>
                </c:pt>
                <c:pt idx="5">
                  <c:v>1725265988</c:v>
                </c:pt>
                <c:pt idx="6">
                  <c:v>1275053958</c:v>
                </c:pt>
                <c:pt idx="7">
                  <c:v>5155894388</c:v>
                </c:pt>
                <c:pt idx="8">
                  <c:v>2105449472</c:v>
                </c:pt>
                <c:pt idx="9">
                  <c:v>22256584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E7-42D4-A407-46F5D9C8721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00666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 Condensed" panose="020B0806030504020204" pitchFamily="34" charset="0"/>
                    <a:ea typeface="Open Sans Condensed" panose="020B0806030504020204" pitchFamily="34" charset="0"/>
                    <a:cs typeface="Open Sans Condensed" panose="020B0806030504020204" pitchFamily="34" charset="0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China</c:v>
                </c:pt>
                <c:pt idx="1">
                  <c:v>Bangladesh</c:v>
                </c:pt>
                <c:pt idx="2">
                  <c:v>Türkiye</c:v>
                </c:pt>
                <c:pt idx="3">
                  <c:v>India</c:v>
                </c:pt>
                <c:pt idx="4">
                  <c:v>Pakistan</c:v>
                </c:pt>
                <c:pt idx="5">
                  <c:v>Vietnam</c:v>
                </c:pt>
                <c:pt idx="6">
                  <c:v>Cambodia</c:v>
                </c:pt>
                <c:pt idx="7">
                  <c:v>United Kingdom</c:v>
                </c:pt>
                <c:pt idx="8">
                  <c:v>Morocco</c:v>
                </c:pt>
                <c:pt idx="9">
                  <c:v>Tunisia</c:v>
                </c:pt>
              </c:strCache>
            </c:strRef>
          </c:cat>
          <c:val>
            <c:numRef>
              <c:f>Sheet1!$C$2:$C$11</c:f>
              <c:numCache>
                <c:formatCode>#,##0</c:formatCode>
                <c:ptCount val="10"/>
                <c:pt idx="0">
                  <c:v>33238034062</c:v>
                </c:pt>
                <c:pt idx="1">
                  <c:v>17771522143</c:v>
                </c:pt>
                <c:pt idx="2">
                  <c:v>14863873882</c:v>
                </c:pt>
                <c:pt idx="3">
                  <c:v>6599860308</c:v>
                </c:pt>
                <c:pt idx="4">
                  <c:v>5798014024</c:v>
                </c:pt>
                <c:pt idx="5">
                  <c:v>4518245526</c:v>
                </c:pt>
                <c:pt idx="6">
                  <c:v>3233146703</c:v>
                </c:pt>
                <c:pt idx="7">
                  <c:v>3191398909</c:v>
                </c:pt>
                <c:pt idx="8">
                  <c:v>2730056403</c:v>
                </c:pt>
                <c:pt idx="9">
                  <c:v>26937229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0E7-42D4-A407-46F5D9C872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1"/>
        <c:axId val="704473360"/>
        <c:axId val="1342387152"/>
      </c:barChart>
      <c:catAx>
        <c:axId val="704473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 Condensed" panose="020B0806030504020204" pitchFamily="34" charset="0"/>
                <a:ea typeface="Open Sans Condensed" panose="020B0806030504020204" pitchFamily="34" charset="0"/>
                <a:cs typeface="Open Sans Condensed" panose="020B0806030504020204" pitchFamily="34" charset="0"/>
              </a:defRPr>
            </a:pPr>
            <a:endParaRPr lang="fr-FR"/>
          </a:p>
        </c:txPr>
        <c:crossAx val="1342387152"/>
        <c:crosses val="autoZero"/>
        <c:auto val="1"/>
        <c:lblAlgn val="ctr"/>
        <c:lblOffset val="100"/>
        <c:noMultiLvlLbl val="0"/>
      </c:catAx>
      <c:valAx>
        <c:axId val="13423871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 Condensed" panose="020B0806030504020204" pitchFamily="34" charset="0"/>
                <a:ea typeface="Open Sans Condensed" panose="020B0806030504020204" pitchFamily="34" charset="0"/>
                <a:cs typeface="Open Sans Condensed" panose="020B0806030504020204" pitchFamily="34" charset="0"/>
              </a:defRPr>
            </a:pPr>
            <a:endParaRPr lang="fr-FR"/>
          </a:p>
        </c:txPr>
        <c:crossAx val="704473360"/>
        <c:crosses val="autoZero"/>
        <c:crossBetween val="between"/>
        <c:dispUnits>
          <c:builtInUnit val="million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33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Open Sans Condensed" panose="020B0806030504020204" pitchFamily="34" charset="0"/>
                      <a:ea typeface="Open Sans Condensed" panose="020B0806030504020204" pitchFamily="34" charset="0"/>
                      <a:cs typeface="Open Sans Condensed" panose="020B0806030504020204" pitchFamily="34" charset="0"/>
                    </a:defRPr>
                  </a:pPr>
                  <a:r>
                    <a:rPr lang="fr-FR" sz="1200" dirty="0" err="1">
                      <a:latin typeface="Open Sans Condensed" panose="020B0806030504020204" pitchFamily="34" charset="0"/>
                      <a:ea typeface="Open Sans Condensed" panose="020B0806030504020204" pitchFamily="34" charset="0"/>
                      <a:cs typeface="Open Sans Condensed" panose="020B0806030504020204" pitchFamily="34" charset="0"/>
                    </a:rPr>
                    <a:t>Mio</a:t>
                  </a:r>
                  <a:r>
                    <a:rPr lang="fr-FR" sz="1200" baseline="0" dirty="0">
                      <a:latin typeface="Open Sans Condensed" panose="020B0806030504020204" pitchFamily="34" charset="0"/>
                      <a:ea typeface="Open Sans Condensed" panose="020B0806030504020204" pitchFamily="34" charset="0"/>
                      <a:cs typeface="Open Sans Condensed" panose="020B0806030504020204" pitchFamily="34" charset="0"/>
                    </a:rPr>
                    <a:t> EUR</a:t>
                  </a:r>
                  <a:endParaRPr lang="fr-FR" sz="1200" dirty="0">
                    <a:latin typeface="Open Sans Condensed" panose="020B0806030504020204" pitchFamily="34" charset="0"/>
                    <a:ea typeface="Open Sans Condensed" panose="020B0806030504020204" pitchFamily="34" charset="0"/>
                    <a:cs typeface="Open Sans Condensed" panose="020B0806030504020204" pitchFamily="34" charset="0"/>
                  </a:endParaRP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Open Sans Condensed" panose="020B0806030504020204" pitchFamily="34" charset="0"/>
                    <a:ea typeface="Open Sans Condensed" panose="020B0806030504020204" pitchFamily="34" charset="0"/>
                    <a:cs typeface="Open Sans Condensed" panose="020B0806030504020204" pitchFamily="34" charset="0"/>
                  </a:defRPr>
                </a:pPr>
                <a:endParaRPr lang="fr-FR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7352057507129299"/>
          <c:y val="0.21946163811069694"/>
          <c:w val="0.12893300164919405"/>
          <c:h val="6.32398753193328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 Condensed" panose="020B0806030504020204" pitchFamily="34" charset="0"/>
              <a:ea typeface="Open Sans Condensed" panose="020B0806030504020204" pitchFamily="34" charset="0"/>
              <a:cs typeface="Open Sans Condensed" panose="020B0806030504020204" pitchFamily="34" charset="0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Open Sans Condensed" panose="020B0806030504020204" pitchFamily="34" charset="0"/>
          <a:ea typeface="Open Sans Condensed" panose="020B0806030504020204" pitchFamily="34" charset="0"/>
          <a:cs typeface="Open Sans Condensed" panose="020B0806030504020204" pitchFamily="34" charset="0"/>
        </a:defRPr>
      </a:pPr>
      <a:endParaRPr lang="fr-F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EU-27 trade WITH Canada, Textiles &amp; clothing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cap="all" spc="15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9.1458854624016997E-2"/>
          <c:y val="0.20346538110938273"/>
          <c:w val="0.89791079148352837"/>
          <c:h val="0.62085836843872355"/>
        </c:manualLayout>
      </c:layout>
      <c:lineChart>
        <c:grouping val="standard"/>
        <c:varyColors val="0"/>
        <c:ser>
          <c:idx val="1"/>
          <c:order val="0"/>
          <c:tx>
            <c:strRef>
              <c:f>Canada!$B$3</c:f>
              <c:strCache>
                <c:ptCount val="1"/>
                <c:pt idx="0">
                  <c:v>IMPORTS</c:v>
                </c:pt>
              </c:strCache>
            </c:strRef>
          </c:tx>
          <c:spPr>
            <a:ln w="38100" cap="flat" cmpd="dbl" algn="ctr">
              <a:solidFill>
                <a:schemeClr val="accent2"/>
              </a:solidFill>
              <a:miter lim="800000"/>
            </a:ln>
            <a:effectLst/>
          </c:spPr>
          <c:marker>
            <c:symbol val="none"/>
          </c:marker>
          <c:cat>
            <c:numRef>
              <c:f>Canada!$A$6:$A$15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Canada!$D$6:$D$15</c:f>
              <c:numCache>
                <c:formatCode>_-* #,##0_-;\-* #,##0_-;_-* "-"??_-;_-@_-</c:formatCode>
                <c:ptCount val="10"/>
                <c:pt idx="0">
                  <c:v>109752333</c:v>
                </c:pt>
                <c:pt idx="1">
                  <c:v>116056441</c:v>
                </c:pt>
                <c:pt idx="2">
                  <c:v>126850933</c:v>
                </c:pt>
                <c:pt idx="3">
                  <c:v>143125890</c:v>
                </c:pt>
                <c:pt idx="4">
                  <c:v>172938935</c:v>
                </c:pt>
                <c:pt idx="5">
                  <c:v>152442538</c:v>
                </c:pt>
                <c:pt idx="6">
                  <c:v>132181200</c:v>
                </c:pt>
                <c:pt idx="7">
                  <c:v>137900901</c:v>
                </c:pt>
                <c:pt idx="8">
                  <c:v>164786620</c:v>
                </c:pt>
                <c:pt idx="9">
                  <c:v>1744870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C27-4DD9-90CD-CFC9AC826540}"/>
            </c:ext>
          </c:extLst>
        </c:ser>
        <c:ser>
          <c:idx val="2"/>
          <c:order val="1"/>
          <c:tx>
            <c:strRef>
              <c:f>Canada!$E$3</c:f>
              <c:strCache>
                <c:ptCount val="1"/>
                <c:pt idx="0">
                  <c:v>EXPORTS</c:v>
                </c:pt>
              </c:strCache>
            </c:strRef>
          </c:tx>
          <c:spPr>
            <a:ln w="38100" cap="flat" cmpd="dbl" algn="ctr">
              <a:solidFill>
                <a:srgbClr val="0000FF"/>
              </a:solidFill>
              <a:miter lim="800000"/>
            </a:ln>
            <a:effectLst/>
          </c:spPr>
          <c:marker>
            <c:symbol val="none"/>
          </c:marker>
          <c:cat>
            <c:numRef>
              <c:f>Canada!$A$6:$A$15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Canada!$G$6:$G$15</c:f>
              <c:numCache>
                <c:formatCode>#,##0</c:formatCode>
                <c:ptCount val="10"/>
                <c:pt idx="0">
                  <c:v>579394502</c:v>
                </c:pt>
                <c:pt idx="1">
                  <c:v>652109102</c:v>
                </c:pt>
                <c:pt idx="2">
                  <c:v>692902771</c:v>
                </c:pt>
                <c:pt idx="3">
                  <c:v>763697293</c:v>
                </c:pt>
                <c:pt idx="4">
                  <c:v>837515488</c:v>
                </c:pt>
                <c:pt idx="5">
                  <c:v>898163422</c:v>
                </c:pt>
                <c:pt idx="6">
                  <c:v>729811919</c:v>
                </c:pt>
                <c:pt idx="7">
                  <c:v>904467143</c:v>
                </c:pt>
                <c:pt idx="8">
                  <c:v>1230813609</c:v>
                </c:pt>
                <c:pt idx="9">
                  <c:v>11285940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C27-4DD9-90CD-CFC9AC8265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85381488"/>
        <c:axId val="1531295664"/>
      </c:lineChart>
      <c:catAx>
        <c:axId val="158538148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  <a:alpha val="32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1">
                <a:lumMod val="15000"/>
                <a:lumOff val="85000"/>
              </a:schemeClr>
            </a:solidFill>
            <a:round/>
            <a:tailEnd type="none" w="med" len="lg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31295664"/>
        <c:crosses val="autoZero"/>
        <c:auto val="1"/>
        <c:lblAlgn val="ctr"/>
        <c:lblOffset val="100"/>
        <c:noMultiLvlLbl val="0"/>
      </c:catAx>
      <c:valAx>
        <c:axId val="1531295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  <a:alpha val="32000"/>
                </a:schemeClr>
              </a:solidFill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1">
                <a:lumMod val="15000"/>
                <a:lumOff val="85000"/>
              </a:schemeClr>
            </a:solidFill>
            <a:round/>
            <a:tailEnd type="none" w="med" len="lg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85381488"/>
        <c:crosses val="autoZero"/>
        <c:crossBetween val="between"/>
        <c:dispUnits>
          <c:builtInUnit val="millions"/>
          <c:dispUnitsLbl>
            <c:layout>
              <c:manualLayout>
                <c:xMode val="edge"/>
                <c:yMode val="edge"/>
                <c:x val="1.5034041254543459E-2"/>
                <c:y val="0.41311522396723827"/>
              </c:manualLayout>
            </c:layout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197" b="0" i="0" u="none" strike="noStrike" kern="1200" cap="all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fr-FR"/>
                    <a:t>Mio EUR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197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3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38100" cap="flat" cmpd="dbl" algn="ctr">
        <a:solidFill>
          <a:schemeClr val="phClr"/>
        </a:solidFill>
        <a:miter lim="800000"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 cap="flat" cmpd="sng" algn="ctr">
        <a:solidFill>
          <a:schemeClr val="lt1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tx1"/>
    </cs:fontRef>
    <cs:spPr>
      <a:ln w="9525">
        <a:solidFill>
          <a:schemeClr val="tx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  <a:alpha val="32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tx1">
            <a:lumMod val="5000"/>
            <a:lumOff val="95000"/>
            <a:alpha val="32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tx1"/>
        </a:solidFill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/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2700" cap="rnd"/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image" Target="../media/image82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image" Target="../media/image8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2B3B601-FA2B-4B44-A614-25D6033060DC}" type="doc">
      <dgm:prSet loTypeId="urn:microsoft.com/office/officeart/2005/8/layout/hList1" loCatId="list" qsTypeId="urn:microsoft.com/office/officeart/2005/8/quickstyle/simple5" qsCatId="simple" csTypeId="urn:microsoft.com/office/officeart/2005/8/colors/colorful5" csCatId="colorful" phldr="1"/>
      <dgm:spPr/>
      <dgm:t>
        <a:bodyPr/>
        <a:lstStyle/>
        <a:p>
          <a:endParaRPr lang="en-BE"/>
        </a:p>
      </dgm:t>
    </dgm:pt>
    <dgm:pt modelId="{D37ABDDF-74F9-4256-A60D-C75316BC73CD}">
      <dgm:prSet phldrT="[Text]" custT="1"/>
      <dgm:spPr>
        <a:xfrm>
          <a:off x="0" y="2084"/>
          <a:ext cx="2802838" cy="1375695"/>
        </a:xfrm>
      </dgm:spPr>
      <dgm:t>
        <a:bodyPr/>
        <a:lstStyle/>
        <a:p>
          <a:pPr algn="ctr">
            <a:lnSpc>
              <a:spcPct val="100000"/>
            </a:lnSpc>
            <a:spcAft>
              <a:spcPts val="1200"/>
            </a:spcAft>
            <a:buNone/>
          </a:pPr>
          <a:r>
            <a:rPr lang="en-GB" sz="1800" b="1" dirty="0">
              <a:latin typeface="Calibri" panose="020F0502020204030204"/>
              <a:ea typeface="+mn-ea"/>
              <a:cs typeface="+mn-cs"/>
            </a:rPr>
            <a:t>1. Quality of the regulatory framework</a:t>
          </a:r>
          <a:endParaRPr lang="en-BE" sz="1800" b="1" dirty="0">
            <a:latin typeface="Calibri" panose="020F0502020204030204"/>
            <a:ea typeface="+mn-ea"/>
            <a:cs typeface="+mn-cs"/>
          </a:endParaRPr>
        </a:p>
      </dgm:t>
    </dgm:pt>
    <dgm:pt modelId="{A47D68E9-EC68-42F5-A028-C5B05E4BDD68}" type="parTrans" cxnId="{A3831AD7-7E75-4B97-AC12-5DDBD5F0D929}">
      <dgm:prSet/>
      <dgm:spPr/>
      <dgm:t>
        <a:bodyPr/>
        <a:lstStyle/>
        <a:p>
          <a:endParaRPr lang="en-BE" sz="1600"/>
        </a:p>
      </dgm:t>
    </dgm:pt>
    <dgm:pt modelId="{652AD86F-67BB-49DA-B235-CBA4BA0C6B2A}" type="sibTrans" cxnId="{A3831AD7-7E75-4B97-AC12-5DDBD5F0D929}">
      <dgm:prSet custT="1"/>
      <dgm:spPr/>
      <dgm:t>
        <a:bodyPr/>
        <a:lstStyle/>
        <a:p>
          <a:endParaRPr lang="en-BE" sz="1600"/>
        </a:p>
      </dgm:t>
    </dgm:pt>
    <dgm:pt modelId="{F938F016-B305-4987-BF60-74CBD9CBAED8}">
      <dgm:prSet phldrT="[Text]" custT="1"/>
      <dgm:spPr>
        <a:xfrm>
          <a:off x="0" y="1446565"/>
          <a:ext cx="2802838" cy="1375695"/>
        </a:xfrm>
      </dgm:spPr>
      <dgm:t>
        <a:bodyPr/>
        <a:lstStyle/>
        <a:p>
          <a:pPr algn="ctr">
            <a:lnSpc>
              <a:spcPct val="100000"/>
            </a:lnSpc>
            <a:spcAft>
              <a:spcPts val="1200"/>
            </a:spcAft>
            <a:buNone/>
          </a:pPr>
          <a:r>
            <a:rPr lang="en-GB" sz="1800" b="1" dirty="0">
              <a:latin typeface="Calibri" panose="020F0502020204030204"/>
              <a:ea typeface="+mn-ea"/>
              <a:cs typeface="+mn-cs"/>
            </a:rPr>
            <a:t>2. EU Strategy has to become a Global Strategy…</a:t>
          </a:r>
        </a:p>
      </dgm:t>
    </dgm:pt>
    <dgm:pt modelId="{AA756826-D808-402F-B3B8-532124867F92}" type="parTrans" cxnId="{C3728643-8AA1-4177-89B9-7FA69EA535C6}">
      <dgm:prSet/>
      <dgm:spPr/>
      <dgm:t>
        <a:bodyPr/>
        <a:lstStyle/>
        <a:p>
          <a:endParaRPr lang="en-BE" sz="1600"/>
        </a:p>
      </dgm:t>
    </dgm:pt>
    <dgm:pt modelId="{27A94A43-DF57-48CA-82E7-EFC8E29DA8BC}" type="sibTrans" cxnId="{C3728643-8AA1-4177-89B9-7FA69EA535C6}">
      <dgm:prSet custT="1"/>
      <dgm:spPr/>
      <dgm:t>
        <a:bodyPr/>
        <a:lstStyle/>
        <a:p>
          <a:endParaRPr lang="en-BE" sz="1600"/>
        </a:p>
      </dgm:t>
    </dgm:pt>
    <dgm:pt modelId="{8D570C7C-C720-4C52-AF82-C67406F1C950}">
      <dgm:prSet phldrT="[Text]" custT="1"/>
      <dgm:spPr>
        <a:xfrm>
          <a:off x="0" y="2084"/>
          <a:ext cx="2802838" cy="1375695"/>
        </a:xfrm>
      </dgm:spPr>
      <dgm:t>
        <a:bodyPr/>
        <a:lstStyle/>
        <a:p>
          <a:pPr algn="ctr">
            <a:lnSpc>
              <a:spcPct val="100000"/>
            </a:lnSpc>
            <a:spcAft>
              <a:spcPts val="1200"/>
            </a:spcAft>
            <a:buNone/>
          </a:pPr>
          <a:r>
            <a:rPr lang="en-GB" sz="1800" b="1" dirty="0">
              <a:latin typeface="Calibri" panose="020F0502020204030204"/>
              <a:ea typeface="+mn-ea"/>
              <a:cs typeface="+mn-cs"/>
            </a:rPr>
            <a:t>Coherent</a:t>
          </a:r>
          <a:endParaRPr lang="en-BE" sz="1800" b="1" dirty="0">
            <a:latin typeface="Calibri" panose="020F0502020204030204"/>
            <a:ea typeface="+mn-ea"/>
            <a:cs typeface="+mn-cs"/>
          </a:endParaRPr>
        </a:p>
      </dgm:t>
    </dgm:pt>
    <dgm:pt modelId="{57A769DF-3560-49FB-9FAB-895D5AFCEDE9}" type="parTrans" cxnId="{E4B50AA7-9458-4D7D-8166-667FAFBDFBDC}">
      <dgm:prSet/>
      <dgm:spPr/>
      <dgm:t>
        <a:bodyPr/>
        <a:lstStyle/>
        <a:p>
          <a:endParaRPr lang="en-BE" sz="1600"/>
        </a:p>
      </dgm:t>
    </dgm:pt>
    <dgm:pt modelId="{E4EBF04B-9477-4485-AC2C-8F5064C4A22E}" type="sibTrans" cxnId="{E4B50AA7-9458-4D7D-8166-667FAFBDFBDC}">
      <dgm:prSet/>
      <dgm:spPr/>
      <dgm:t>
        <a:bodyPr/>
        <a:lstStyle/>
        <a:p>
          <a:endParaRPr lang="en-BE" sz="1600"/>
        </a:p>
      </dgm:t>
    </dgm:pt>
    <dgm:pt modelId="{EAE694C8-DA5C-41D9-A4F1-9A7FB777CE5A}">
      <dgm:prSet phldrT="[Text]" custT="1"/>
      <dgm:spPr>
        <a:xfrm>
          <a:off x="0" y="2084"/>
          <a:ext cx="2802838" cy="1375695"/>
        </a:xfrm>
      </dgm:spPr>
      <dgm:t>
        <a:bodyPr/>
        <a:lstStyle/>
        <a:p>
          <a:pPr algn="ctr">
            <a:lnSpc>
              <a:spcPct val="100000"/>
            </a:lnSpc>
            <a:spcAft>
              <a:spcPts val="1200"/>
            </a:spcAft>
            <a:buNone/>
          </a:pPr>
          <a:r>
            <a:rPr lang="en-GB" sz="1800" b="1" dirty="0">
              <a:latin typeface="Calibri" panose="020F0502020204030204"/>
              <a:ea typeface="+mn-ea"/>
              <a:cs typeface="+mn-cs"/>
            </a:rPr>
            <a:t>Enforceable</a:t>
          </a:r>
          <a:endParaRPr lang="en-BE" sz="1800" b="1" dirty="0">
            <a:latin typeface="Calibri" panose="020F0502020204030204"/>
            <a:ea typeface="+mn-ea"/>
            <a:cs typeface="+mn-cs"/>
          </a:endParaRPr>
        </a:p>
      </dgm:t>
    </dgm:pt>
    <dgm:pt modelId="{E4B01726-DAC4-4C0E-9B4D-D73EAAAF10A2}" type="parTrans" cxnId="{3B39E14D-47F3-49DF-B625-E798784278EA}">
      <dgm:prSet/>
      <dgm:spPr/>
      <dgm:t>
        <a:bodyPr/>
        <a:lstStyle/>
        <a:p>
          <a:endParaRPr lang="en-BE" sz="1600"/>
        </a:p>
      </dgm:t>
    </dgm:pt>
    <dgm:pt modelId="{630DC9A0-4D24-4702-B19A-5232B4B64A12}" type="sibTrans" cxnId="{3B39E14D-47F3-49DF-B625-E798784278EA}">
      <dgm:prSet/>
      <dgm:spPr/>
      <dgm:t>
        <a:bodyPr/>
        <a:lstStyle/>
        <a:p>
          <a:endParaRPr lang="en-BE" sz="1600"/>
        </a:p>
      </dgm:t>
    </dgm:pt>
    <dgm:pt modelId="{3342B615-10BF-41F0-B169-55755CE4CFF0}">
      <dgm:prSet phldrT="[Text]" custT="1"/>
      <dgm:spPr>
        <a:xfrm>
          <a:off x="0" y="2084"/>
          <a:ext cx="2802838" cy="1375695"/>
        </a:xfrm>
      </dgm:spPr>
      <dgm:t>
        <a:bodyPr/>
        <a:lstStyle/>
        <a:p>
          <a:pPr algn="ctr">
            <a:lnSpc>
              <a:spcPct val="100000"/>
            </a:lnSpc>
            <a:spcAft>
              <a:spcPts val="1200"/>
            </a:spcAft>
            <a:buNone/>
          </a:pPr>
          <a:r>
            <a:rPr lang="en-GB" sz="1800" b="1" dirty="0">
              <a:latin typeface="Calibri" panose="020F0502020204030204"/>
              <a:ea typeface="+mn-ea"/>
              <a:cs typeface="+mn-cs"/>
            </a:rPr>
            <a:t>Predictable</a:t>
          </a:r>
          <a:endParaRPr lang="en-BE" sz="1800" b="1" dirty="0">
            <a:latin typeface="Calibri" panose="020F0502020204030204"/>
            <a:ea typeface="+mn-ea"/>
            <a:cs typeface="+mn-cs"/>
          </a:endParaRPr>
        </a:p>
      </dgm:t>
    </dgm:pt>
    <dgm:pt modelId="{8029EBAB-9DD5-4D8D-B446-FF1578166CDD}" type="parTrans" cxnId="{04D37699-C373-4573-BB16-DCE3328283A0}">
      <dgm:prSet/>
      <dgm:spPr/>
      <dgm:t>
        <a:bodyPr/>
        <a:lstStyle/>
        <a:p>
          <a:endParaRPr lang="en-BE" sz="1600"/>
        </a:p>
      </dgm:t>
    </dgm:pt>
    <dgm:pt modelId="{61BBCBE3-C8C8-438A-A84A-DDBBCA936D3E}" type="sibTrans" cxnId="{04D37699-C373-4573-BB16-DCE3328283A0}">
      <dgm:prSet/>
      <dgm:spPr/>
      <dgm:t>
        <a:bodyPr/>
        <a:lstStyle/>
        <a:p>
          <a:endParaRPr lang="en-BE" sz="1600"/>
        </a:p>
      </dgm:t>
    </dgm:pt>
    <dgm:pt modelId="{9A8D299C-44FA-4744-BB85-63A2836E0EB3}">
      <dgm:prSet phldrT="[Text]" custT="1"/>
      <dgm:spPr>
        <a:xfrm>
          <a:off x="0" y="1446565"/>
          <a:ext cx="2802838" cy="1375695"/>
        </a:xfrm>
      </dgm:spPr>
      <dgm:t>
        <a:bodyPr/>
        <a:lstStyle/>
        <a:p>
          <a:pPr algn="ctr">
            <a:lnSpc>
              <a:spcPct val="100000"/>
            </a:lnSpc>
            <a:spcAft>
              <a:spcPts val="1200"/>
            </a:spcAft>
            <a:buNone/>
          </a:pPr>
          <a:r>
            <a:rPr lang="en-GB" sz="1800" b="1" dirty="0">
              <a:latin typeface="Calibri" panose="020F0502020204030204"/>
              <a:ea typeface="+mn-ea"/>
              <a:cs typeface="+mn-cs"/>
            </a:rPr>
            <a:t>To ensure level playing field</a:t>
          </a:r>
        </a:p>
      </dgm:t>
    </dgm:pt>
    <dgm:pt modelId="{69E34FD0-0E06-4A91-8193-7225015FB821}" type="parTrans" cxnId="{28FDC969-892C-4BBF-9855-844CC5DAC5B5}">
      <dgm:prSet/>
      <dgm:spPr/>
      <dgm:t>
        <a:bodyPr/>
        <a:lstStyle/>
        <a:p>
          <a:endParaRPr lang="en-BE" sz="1600"/>
        </a:p>
      </dgm:t>
    </dgm:pt>
    <dgm:pt modelId="{8AB9CACB-43DA-4D8A-8416-B0372B0DE517}" type="sibTrans" cxnId="{28FDC969-892C-4BBF-9855-844CC5DAC5B5}">
      <dgm:prSet/>
      <dgm:spPr/>
      <dgm:t>
        <a:bodyPr/>
        <a:lstStyle/>
        <a:p>
          <a:endParaRPr lang="en-BE" sz="1600"/>
        </a:p>
      </dgm:t>
    </dgm:pt>
    <dgm:pt modelId="{FE5B323E-9811-4CEE-9309-55512BC56E1E}">
      <dgm:prSet phldrT="[Text]" custT="1"/>
      <dgm:spPr>
        <a:xfrm>
          <a:off x="0" y="1446565"/>
          <a:ext cx="2802838" cy="1375695"/>
        </a:xfrm>
      </dgm:spPr>
      <dgm:t>
        <a:bodyPr/>
        <a:lstStyle/>
        <a:p>
          <a:pPr algn="ctr">
            <a:lnSpc>
              <a:spcPct val="100000"/>
            </a:lnSpc>
            <a:spcAft>
              <a:spcPts val="1200"/>
            </a:spcAft>
            <a:buNone/>
          </a:pPr>
          <a:r>
            <a:rPr lang="en-GB" sz="1800" b="1" dirty="0">
              <a:latin typeface="Calibri" panose="020F0502020204030204"/>
              <a:ea typeface="+mn-ea"/>
              <a:cs typeface="+mn-cs"/>
            </a:rPr>
            <a:t>To make a significant impact on the planet</a:t>
          </a:r>
        </a:p>
      </dgm:t>
    </dgm:pt>
    <dgm:pt modelId="{F6A45028-D266-43EF-AA77-38233ED7E8C4}" type="parTrans" cxnId="{1602212F-1301-49B4-928D-8DBFEFA4B7BE}">
      <dgm:prSet/>
      <dgm:spPr/>
      <dgm:t>
        <a:bodyPr/>
        <a:lstStyle/>
        <a:p>
          <a:endParaRPr lang="en-BE" sz="1600"/>
        </a:p>
      </dgm:t>
    </dgm:pt>
    <dgm:pt modelId="{03A8C286-9793-4A39-9445-51963252EB10}" type="sibTrans" cxnId="{1602212F-1301-49B4-928D-8DBFEFA4B7BE}">
      <dgm:prSet/>
      <dgm:spPr/>
      <dgm:t>
        <a:bodyPr/>
        <a:lstStyle/>
        <a:p>
          <a:endParaRPr lang="en-BE" sz="1600"/>
        </a:p>
      </dgm:t>
    </dgm:pt>
    <dgm:pt modelId="{F7380E45-594E-416F-845E-122BAA4E823E}">
      <dgm:prSet phldrT="[Text]" custT="1"/>
      <dgm:spPr>
        <a:xfrm>
          <a:off x="0" y="2084"/>
          <a:ext cx="2802838" cy="1375695"/>
        </a:xfrm>
      </dgm:spPr>
      <dgm:t>
        <a:bodyPr/>
        <a:lstStyle/>
        <a:p>
          <a:pPr algn="ctr">
            <a:lnSpc>
              <a:spcPct val="100000"/>
            </a:lnSpc>
            <a:spcAft>
              <a:spcPts val="1200"/>
            </a:spcAft>
            <a:buNone/>
          </a:pPr>
          <a:r>
            <a:rPr lang="en-GB" sz="1800" b="1" dirty="0">
              <a:latin typeface="Calibri" panose="020F0502020204030204"/>
              <a:ea typeface="+mn-ea"/>
              <a:cs typeface="+mn-cs"/>
            </a:rPr>
            <a:t>Measurable</a:t>
          </a:r>
          <a:endParaRPr lang="en-BE" sz="1800" b="1" dirty="0">
            <a:latin typeface="Calibri" panose="020F0502020204030204"/>
            <a:ea typeface="+mn-ea"/>
            <a:cs typeface="+mn-cs"/>
          </a:endParaRPr>
        </a:p>
      </dgm:t>
    </dgm:pt>
    <dgm:pt modelId="{2A18BEA4-0E16-49EF-BD3F-D6109DD98641}" type="parTrans" cxnId="{E4AB69A4-3956-4B6F-B2D9-6FCC73EEE289}">
      <dgm:prSet/>
      <dgm:spPr/>
      <dgm:t>
        <a:bodyPr/>
        <a:lstStyle/>
        <a:p>
          <a:endParaRPr lang="en-BE" sz="1600"/>
        </a:p>
      </dgm:t>
    </dgm:pt>
    <dgm:pt modelId="{E58E9414-512E-4665-80C3-0150DFD46FDF}" type="sibTrans" cxnId="{E4AB69A4-3956-4B6F-B2D9-6FCC73EEE289}">
      <dgm:prSet/>
      <dgm:spPr/>
      <dgm:t>
        <a:bodyPr/>
        <a:lstStyle/>
        <a:p>
          <a:endParaRPr lang="en-BE" sz="1600"/>
        </a:p>
      </dgm:t>
    </dgm:pt>
    <dgm:pt modelId="{72B451CD-7D96-412C-B27B-E65129B501B5}">
      <dgm:prSet phldrT="[Text]" custT="1"/>
      <dgm:spPr>
        <a:xfrm>
          <a:off x="0" y="1446565"/>
          <a:ext cx="2802838" cy="1375695"/>
        </a:xfrm>
      </dgm:spPr>
      <dgm:t>
        <a:bodyPr/>
        <a:lstStyle/>
        <a:p>
          <a:pPr algn="ctr">
            <a:lnSpc>
              <a:spcPct val="100000"/>
            </a:lnSpc>
            <a:spcAft>
              <a:spcPts val="1200"/>
            </a:spcAft>
            <a:buNone/>
          </a:pPr>
          <a:r>
            <a:rPr lang="en-GB" sz="1800" b="1" dirty="0">
              <a:latin typeface="Calibri" panose="020F0502020204030204"/>
              <a:ea typeface="+mn-ea"/>
              <a:cs typeface="+mn-cs"/>
            </a:rPr>
            <a:t>To establish global standards and definitions</a:t>
          </a:r>
        </a:p>
      </dgm:t>
    </dgm:pt>
    <dgm:pt modelId="{C0144280-539D-42F0-A2AD-460B7B6704A8}" type="parTrans" cxnId="{8FD7384F-C232-4FC4-8CFE-75FB4388F255}">
      <dgm:prSet/>
      <dgm:spPr/>
      <dgm:t>
        <a:bodyPr/>
        <a:lstStyle/>
        <a:p>
          <a:endParaRPr lang="en-BE" sz="1600"/>
        </a:p>
      </dgm:t>
    </dgm:pt>
    <dgm:pt modelId="{DFED7A3D-5BF0-48E1-96CE-9E5CCD6FD665}" type="sibTrans" cxnId="{8FD7384F-C232-4FC4-8CFE-75FB4388F255}">
      <dgm:prSet/>
      <dgm:spPr/>
      <dgm:t>
        <a:bodyPr/>
        <a:lstStyle/>
        <a:p>
          <a:endParaRPr lang="en-BE" sz="1600"/>
        </a:p>
      </dgm:t>
    </dgm:pt>
    <dgm:pt modelId="{08AB6024-673A-4C1D-A509-C742EE0ED713}">
      <dgm:prSet phldrT="[Text]" custT="1"/>
      <dgm:spPr>
        <a:xfrm>
          <a:off x="0" y="1446565"/>
          <a:ext cx="2802838" cy="1375695"/>
        </a:xfrm>
      </dgm:spPr>
      <dgm:t>
        <a:bodyPr/>
        <a:lstStyle/>
        <a:p>
          <a:pPr algn="ctr">
            <a:lnSpc>
              <a:spcPct val="100000"/>
            </a:lnSpc>
            <a:spcAft>
              <a:spcPts val="1200"/>
            </a:spcAft>
            <a:buNone/>
          </a:pPr>
          <a:r>
            <a:rPr lang="en-GB" sz="1800" b="1" dirty="0">
              <a:latin typeface="Calibri" panose="020F0502020204030204"/>
              <a:ea typeface="+mn-ea"/>
              <a:cs typeface="+mn-cs"/>
            </a:rPr>
            <a:t>3. Stimulate more demand for sustainable fashion</a:t>
          </a:r>
        </a:p>
      </dgm:t>
    </dgm:pt>
    <dgm:pt modelId="{CA26B13F-E5FB-42D2-A0A8-B5E3601F3E2D}" type="parTrans" cxnId="{559285E6-5EA3-4109-9597-665F96250C09}">
      <dgm:prSet/>
      <dgm:spPr/>
      <dgm:t>
        <a:bodyPr/>
        <a:lstStyle/>
        <a:p>
          <a:endParaRPr lang="en-BE" sz="1600"/>
        </a:p>
      </dgm:t>
    </dgm:pt>
    <dgm:pt modelId="{3BA1FCFD-E9E6-4792-8034-EA38236AA902}" type="sibTrans" cxnId="{559285E6-5EA3-4109-9597-665F96250C09}">
      <dgm:prSet/>
      <dgm:spPr/>
      <dgm:t>
        <a:bodyPr/>
        <a:lstStyle/>
        <a:p>
          <a:endParaRPr lang="en-BE" sz="1600"/>
        </a:p>
      </dgm:t>
    </dgm:pt>
    <dgm:pt modelId="{7FD125C3-69CE-4A67-9B5A-E7D92375FBF9}">
      <dgm:prSet phldrT="[Text]" custT="1"/>
      <dgm:spPr>
        <a:xfrm>
          <a:off x="0" y="1446565"/>
          <a:ext cx="2802838" cy="1375695"/>
        </a:xfrm>
      </dgm:spPr>
      <dgm:t>
        <a:bodyPr/>
        <a:lstStyle/>
        <a:p>
          <a:pPr algn="ctr">
            <a:lnSpc>
              <a:spcPct val="100000"/>
            </a:lnSpc>
            <a:spcAft>
              <a:spcPts val="1200"/>
            </a:spcAft>
            <a:buNone/>
          </a:pPr>
          <a:r>
            <a:rPr lang="en-GB" sz="1800" b="1" dirty="0">
              <a:latin typeface="Calibri" panose="020F0502020204030204"/>
              <a:ea typeface="+mn-ea"/>
              <a:cs typeface="+mn-cs"/>
            </a:rPr>
            <a:t>Work on consumer behaviour</a:t>
          </a:r>
        </a:p>
      </dgm:t>
    </dgm:pt>
    <dgm:pt modelId="{76845B53-C0ED-4886-8E8F-97407D5A0D2E}" type="parTrans" cxnId="{1F6AB782-9A05-4F9B-AF97-CDBDB76C9560}">
      <dgm:prSet/>
      <dgm:spPr/>
      <dgm:t>
        <a:bodyPr/>
        <a:lstStyle/>
        <a:p>
          <a:endParaRPr lang="en-BE" sz="1600"/>
        </a:p>
      </dgm:t>
    </dgm:pt>
    <dgm:pt modelId="{67755BB8-B2CB-4784-86F0-FF7B6E115146}" type="sibTrans" cxnId="{1F6AB782-9A05-4F9B-AF97-CDBDB76C9560}">
      <dgm:prSet/>
      <dgm:spPr/>
      <dgm:t>
        <a:bodyPr/>
        <a:lstStyle/>
        <a:p>
          <a:endParaRPr lang="en-BE" sz="1600"/>
        </a:p>
      </dgm:t>
    </dgm:pt>
    <dgm:pt modelId="{628E6F42-0B8E-45B9-8DF4-156042541F85}">
      <dgm:prSet phldrT="[Text]" custT="1"/>
      <dgm:spPr>
        <a:xfrm>
          <a:off x="0" y="1446565"/>
          <a:ext cx="2802838" cy="1375695"/>
        </a:xfrm>
      </dgm:spPr>
      <dgm:t>
        <a:bodyPr/>
        <a:lstStyle/>
        <a:p>
          <a:pPr algn="ctr">
            <a:lnSpc>
              <a:spcPct val="100000"/>
            </a:lnSpc>
            <a:spcAft>
              <a:spcPts val="1200"/>
            </a:spcAft>
            <a:buNone/>
          </a:pPr>
          <a:r>
            <a:rPr lang="en-GB" sz="1800" b="1" dirty="0">
              <a:latin typeface="Calibri" panose="020F0502020204030204"/>
              <a:ea typeface="+mn-ea"/>
              <a:cs typeface="+mn-cs"/>
            </a:rPr>
            <a:t>Increase transparency (avoid greenwashing)</a:t>
          </a:r>
        </a:p>
      </dgm:t>
    </dgm:pt>
    <dgm:pt modelId="{6E1B2C0F-2B83-45EB-97BA-9AD1D5A55D22}" type="parTrans" cxnId="{F472E757-AA1B-4CEC-937A-0EEEC2B6B59F}">
      <dgm:prSet/>
      <dgm:spPr/>
      <dgm:t>
        <a:bodyPr/>
        <a:lstStyle/>
        <a:p>
          <a:endParaRPr lang="en-BE" sz="1600"/>
        </a:p>
      </dgm:t>
    </dgm:pt>
    <dgm:pt modelId="{192EADB6-AC0F-4865-9E0D-ECC941A5CB81}" type="sibTrans" cxnId="{F472E757-AA1B-4CEC-937A-0EEEC2B6B59F}">
      <dgm:prSet/>
      <dgm:spPr/>
      <dgm:t>
        <a:bodyPr/>
        <a:lstStyle/>
        <a:p>
          <a:endParaRPr lang="en-BE" sz="1600"/>
        </a:p>
      </dgm:t>
    </dgm:pt>
    <dgm:pt modelId="{7E24BC21-1186-46FC-9C70-F2C5A60EA18E}">
      <dgm:prSet phldrT="[Text]" custT="1"/>
      <dgm:spPr>
        <a:xfrm>
          <a:off x="0" y="1446565"/>
          <a:ext cx="2802838" cy="1375695"/>
        </a:xfrm>
      </dgm:spPr>
      <dgm:t>
        <a:bodyPr/>
        <a:lstStyle/>
        <a:p>
          <a:pPr algn="ctr">
            <a:lnSpc>
              <a:spcPct val="100000"/>
            </a:lnSpc>
            <a:spcAft>
              <a:spcPts val="1200"/>
            </a:spcAft>
            <a:buNone/>
          </a:pPr>
          <a:r>
            <a:rPr lang="en-GB" sz="1800" b="1" dirty="0">
              <a:latin typeface="Calibri" panose="020F0502020204030204"/>
              <a:ea typeface="+mn-ea"/>
              <a:cs typeface="+mn-cs"/>
            </a:rPr>
            <a:t>Green public procurement</a:t>
          </a:r>
        </a:p>
      </dgm:t>
    </dgm:pt>
    <dgm:pt modelId="{DF36F2D3-3911-46E2-A775-31904C6E121A}" type="parTrans" cxnId="{C5A06B94-A0B0-4476-BAF3-5596DB06699D}">
      <dgm:prSet/>
      <dgm:spPr/>
      <dgm:t>
        <a:bodyPr/>
        <a:lstStyle/>
        <a:p>
          <a:endParaRPr lang="en-BE" sz="1600"/>
        </a:p>
      </dgm:t>
    </dgm:pt>
    <dgm:pt modelId="{896C77A6-46C7-4ACB-8571-9D8D62EF102B}" type="sibTrans" cxnId="{C5A06B94-A0B0-4476-BAF3-5596DB06699D}">
      <dgm:prSet/>
      <dgm:spPr/>
      <dgm:t>
        <a:bodyPr/>
        <a:lstStyle/>
        <a:p>
          <a:endParaRPr lang="en-BE" sz="1600"/>
        </a:p>
      </dgm:t>
    </dgm:pt>
    <dgm:pt modelId="{5027E790-69E5-4211-849E-77CA8D2AFD82}">
      <dgm:prSet phldrT="[Text]" custT="1"/>
      <dgm:spPr>
        <a:xfrm>
          <a:off x="0" y="1446565"/>
          <a:ext cx="2802838" cy="1375695"/>
        </a:xfrm>
      </dgm:spPr>
      <dgm:t>
        <a:bodyPr/>
        <a:lstStyle/>
        <a:p>
          <a:pPr algn="ctr">
            <a:lnSpc>
              <a:spcPct val="100000"/>
            </a:lnSpc>
            <a:spcAft>
              <a:spcPts val="1200"/>
            </a:spcAft>
            <a:buNone/>
          </a:pPr>
          <a:r>
            <a:rPr lang="en-GB" sz="1800" b="1" dirty="0">
              <a:latin typeface="Calibri" panose="020F0502020204030204"/>
              <a:ea typeface="+mn-ea"/>
              <a:cs typeface="+mn-cs"/>
            </a:rPr>
            <a:t>4. </a:t>
          </a:r>
          <a:r>
            <a:rPr lang="en-GB" sz="1800" b="1" dirty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Support the industry transition</a:t>
          </a:r>
        </a:p>
      </dgm:t>
    </dgm:pt>
    <dgm:pt modelId="{00FFE2D2-96F3-4F9B-B224-020A1A0D4F3B}" type="parTrans" cxnId="{B415547F-A84A-458D-A9C4-E190DD92EFC3}">
      <dgm:prSet/>
      <dgm:spPr/>
      <dgm:t>
        <a:bodyPr/>
        <a:lstStyle/>
        <a:p>
          <a:endParaRPr lang="en-BE" sz="1600"/>
        </a:p>
      </dgm:t>
    </dgm:pt>
    <dgm:pt modelId="{07B68F33-04A5-4A30-9F68-9C4B24D4F485}" type="sibTrans" cxnId="{B415547F-A84A-458D-A9C4-E190DD92EFC3}">
      <dgm:prSet/>
      <dgm:spPr/>
      <dgm:t>
        <a:bodyPr/>
        <a:lstStyle/>
        <a:p>
          <a:endParaRPr lang="en-BE" sz="1600"/>
        </a:p>
      </dgm:t>
    </dgm:pt>
    <dgm:pt modelId="{5BB9FEFF-2409-4104-83C7-35ADE0310A1B}">
      <dgm:prSet phldrT="[Text]" custT="1"/>
      <dgm:spPr>
        <a:xfrm>
          <a:off x="0" y="1446565"/>
          <a:ext cx="2802838" cy="1375695"/>
        </a:xfrm>
      </dgm:spPr>
      <dgm:t>
        <a:bodyPr/>
        <a:lstStyle/>
        <a:p>
          <a:pPr algn="ctr">
            <a:lnSpc>
              <a:spcPct val="100000"/>
            </a:lnSpc>
            <a:spcAft>
              <a:spcPts val="1200"/>
            </a:spcAft>
            <a:buNone/>
          </a:pPr>
          <a:r>
            <a:rPr lang="en-GB" sz="1800" b="1" u="sng" dirty="0">
              <a:latin typeface="Calibri" panose="020F0502020204030204"/>
              <a:ea typeface="+mn-ea"/>
              <a:cs typeface="+mn-cs"/>
            </a:rPr>
            <a:t>Innovation and digitalisation</a:t>
          </a:r>
        </a:p>
      </dgm:t>
    </dgm:pt>
    <dgm:pt modelId="{6A7B5213-28CD-4183-B7FF-36F2B60E514D}" type="parTrans" cxnId="{FB66399C-F36F-4247-B22A-23920FAC6082}">
      <dgm:prSet/>
      <dgm:spPr/>
      <dgm:t>
        <a:bodyPr/>
        <a:lstStyle/>
        <a:p>
          <a:endParaRPr lang="en-BE" sz="1600"/>
        </a:p>
      </dgm:t>
    </dgm:pt>
    <dgm:pt modelId="{0AC2BA15-A303-4C98-B402-9DDF6212DBA5}" type="sibTrans" cxnId="{FB66399C-F36F-4247-B22A-23920FAC6082}">
      <dgm:prSet/>
      <dgm:spPr/>
      <dgm:t>
        <a:bodyPr/>
        <a:lstStyle/>
        <a:p>
          <a:endParaRPr lang="en-BE" sz="1600"/>
        </a:p>
      </dgm:t>
    </dgm:pt>
    <dgm:pt modelId="{14B6C0D9-E968-4EDC-8042-2794515E474A}">
      <dgm:prSet phldrT="[Text]" custT="1"/>
      <dgm:spPr>
        <a:xfrm>
          <a:off x="0" y="1446565"/>
          <a:ext cx="2802838" cy="1375695"/>
        </a:xfrm>
      </dgm:spPr>
      <dgm:t>
        <a:bodyPr/>
        <a:lstStyle/>
        <a:p>
          <a:pPr algn="ctr">
            <a:lnSpc>
              <a:spcPct val="100000"/>
            </a:lnSpc>
            <a:spcAft>
              <a:spcPts val="1200"/>
            </a:spcAft>
            <a:buNone/>
          </a:pPr>
          <a:r>
            <a:rPr lang="en-GB" sz="1800" b="1" dirty="0">
              <a:latin typeface="Calibri" panose="020F0502020204030204"/>
              <a:ea typeface="+mn-ea"/>
              <a:cs typeface="+mn-cs"/>
            </a:rPr>
            <a:t>Affordable energy</a:t>
          </a:r>
        </a:p>
      </dgm:t>
    </dgm:pt>
    <dgm:pt modelId="{16C39628-81AD-4366-BB84-D586DF96FF84}" type="parTrans" cxnId="{BE28B146-2E9D-4E59-A5E0-D48BA5563936}">
      <dgm:prSet/>
      <dgm:spPr/>
      <dgm:t>
        <a:bodyPr/>
        <a:lstStyle/>
        <a:p>
          <a:endParaRPr lang="en-BE" sz="1600"/>
        </a:p>
      </dgm:t>
    </dgm:pt>
    <dgm:pt modelId="{F96D6385-7BB4-41D1-9E71-751F4AA47411}" type="sibTrans" cxnId="{BE28B146-2E9D-4E59-A5E0-D48BA5563936}">
      <dgm:prSet/>
      <dgm:spPr/>
      <dgm:t>
        <a:bodyPr/>
        <a:lstStyle/>
        <a:p>
          <a:endParaRPr lang="en-BE" sz="1600"/>
        </a:p>
      </dgm:t>
    </dgm:pt>
    <dgm:pt modelId="{A236D5DE-7224-4C73-8DD1-C75D7402575B}">
      <dgm:prSet phldrT="[Text]" custT="1"/>
      <dgm:spPr>
        <a:xfrm>
          <a:off x="0" y="1446565"/>
          <a:ext cx="2802838" cy="1375695"/>
        </a:xfrm>
      </dgm:spPr>
      <dgm:t>
        <a:bodyPr/>
        <a:lstStyle/>
        <a:p>
          <a:pPr algn="ctr">
            <a:lnSpc>
              <a:spcPct val="100000"/>
            </a:lnSpc>
            <a:spcAft>
              <a:spcPts val="1200"/>
            </a:spcAft>
            <a:buNone/>
          </a:pPr>
          <a:r>
            <a:rPr lang="en-GB" sz="1800" b="1" dirty="0">
              <a:latin typeface="Calibri" panose="020F0502020204030204"/>
              <a:ea typeface="+mn-ea"/>
              <a:cs typeface="+mn-cs"/>
            </a:rPr>
            <a:t>Skills</a:t>
          </a:r>
        </a:p>
      </dgm:t>
    </dgm:pt>
    <dgm:pt modelId="{EF3178E2-9DA7-4AB6-8474-B00AB2CEB022}" type="parTrans" cxnId="{599643D7-B685-4756-BAAC-CBEA586D87A4}">
      <dgm:prSet/>
      <dgm:spPr/>
      <dgm:t>
        <a:bodyPr/>
        <a:lstStyle/>
        <a:p>
          <a:endParaRPr lang="en-BE" sz="1600"/>
        </a:p>
      </dgm:t>
    </dgm:pt>
    <dgm:pt modelId="{0B8169E0-398C-43B4-BAB5-563350159505}" type="sibTrans" cxnId="{599643D7-B685-4756-BAAC-CBEA586D87A4}">
      <dgm:prSet/>
      <dgm:spPr/>
      <dgm:t>
        <a:bodyPr/>
        <a:lstStyle/>
        <a:p>
          <a:endParaRPr lang="en-BE" sz="1600"/>
        </a:p>
      </dgm:t>
    </dgm:pt>
    <dgm:pt modelId="{701D30CE-CADC-425F-9097-6488017C9C5C}">
      <dgm:prSet phldrT="[Text]" custT="1"/>
      <dgm:spPr>
        <a:xfrm>
          <a:off x="0" y="1446565"/>
          <a:ext cx="2802838" cy="1375695"/>
        </a:xfrm>
      </dgm:spPr>
      <dgm:t>
        <a:bodyPr/>
        <a:lstStyle/>
        <a:p>
          <a:pPr algn="ctr">
            <a:lnSpc>
              <a:spcPct val="100000"/>
            </a:lnSpc>
            <a:spcAft>
              <a:spcPts val="1200"/>
            </a:spcAft>
            <a:buNone/>
          </a:pPr>
          <a:r>
            <a:rPr lang="en-GB" sz="1800" b="1" dirty="0">
              <a:latin typeface="Calibri" panose="020F0502020204030204"/>
              <a:ea typeface="+mn-ea"/>
              <a:cs typeface="+mn-cs"/>
            </a:rPr>
            <a:t>Capacity</a:t>
          </a:r>
          <a:endParaRPr lang="en-GB" sz="1600" b="1" dirty="0">
            <a:latin typeface="Calibri" panose="020F0502020204030204"/>
            <a:ea typeface="+mn-ea"/>
            <a:cs typeface="+mn-cs"/>
          </a:endParaRPr>
        </a:p>
      </dgm:t>
    </dgm:pt>
    <dgm:pt modelId="{5A633FAB-7797-40E1-ABCD-C757DE338C2E}" type="parTrans" cxnId="{85F28BE8-E1B3-4717-BA84-AAF0ED214FD2}">
      <dgm:prSet/>
      <dgm:spPr/>
      <dgm:t>
        <a:bodyPr/>
        <a:lstStyle/>
        <a:p>
          <a:endParaRPr lang="en-BE" sz="1600"/>
        </a:p>
      </dgm:t>
    </dgm:pt>
    <dgm:pt modelId="{5674E3F9-8B3C-41E4-A5E8-CF46FDFF6C1C}" type="sibTrans" cxnId="{85F28BE8-E1B3-4717-BA84-AAF0ED214FD2}">
      <dgm:prSet/>
      <dgm:spPr/>
      <dgm:t>
        <a:bodyPr/>
        <a:lstStyle/>
        <a:p>
          <a:endParaRPr lang="en-BE" sz="1600"/>
        </a:p>
      </dgm:t>
    </dgm:pt>
    <dgm:pt modelId="{61CFD2C3-9821-4574-A245-C8F11E128487}">
      <dgm:prSet phldrT="[Text]" custT="1"/>
      <dgm:spPr>
        <a:xfrm>
          <a:off x="0" y="2084"/>
          <a:ext cx="2802838" cy="1375695"/>
        </a:xfrm>
      </dgm:spPr>
      <dgm:t>
        <a:bodyPr/>
        <a:lstStyle/>
        <a:p>
          <a:pPr algn="ctr">
            <a:lnSpc>
              <a:spcPct val="100000"/>
            </a:lnSpc>
            <a:spcAft>
              <a:spcPts val="1200"/>
            </a:spcAft>
            <a:buNone/>
          </a:pPr>
          <a:r>
            <a:rPr lang="en-GB" sz="1800" b="1" dirty="0">
              <a:latin typeface="Calibri" panose="020F0502020204030204"/>
              <a:ea typeface="+mn-ea"/>
              <a:cs typeface="+mn-cs"/>
            </a:rPr>
            <a:t>SME friendly</a:t>
          </a:r>
          <a:endParaRPr lang="en-BE" sz="1600" b="1" dirty="0">
            <a:latin typeface="Calibri" panose="020F0502020204030204"/>
            <a:ea typeface="+mn-ea"/>
            <a:cs typeface="+mn-cs"/>
          </a:endParaRPr>
        </a:p>
      </dgm:t>
    </dgm:pt>
    <dgm:pt modelId="{7C172777-B893-4D06-95F6-F66C9CB9BE8E}" type="parTrans" cxnId="{D55A21A2-D149-42B4-BDA2-B0AC0DFEC29D}">
      <dgm:prSet/>
      <dgm:spPr/>
      <dgm:t>
        <a:bodyPr/>
        <a:lstStyle/>
        <a:p>
          <a:endParaRPr lang="en-BE"/>
        </a:p>
      </dgm:t>
    </dgm:pt>
    <dgm:pt modelId="{33811E77-68B5-4067-B924-BC20D35A0BBD}" type="sibTrans" cxnId="{D55A21A2-D149-42B4-BDA2-B0AC0DFEC29D}">
      <dgm:prSet/>
      <dgm:spPr/>
      <dgm:t>
        <a:bodyPr/>
        <a:lstStyle/>
        <a:p>
          <a:endParaRPr lang="en-BE"/>
        </a:p>
      </dgm:t>
    </dgm:pt>
    <dgm:pt modelId="{90BE84D6-0A01-4640-923D-D76AA097B708}" type="pres">
      <dgm:prSet presAssocID="{D2B3B601-FA2B-4B44-A614-25D6033060DC}" presName="Name0" presStyleCnt="0">
        <dgm:presLayoutVars>
          <dgm:dir/>
          <dgm:animLvl val="lvl"/>
          <dgm:resizeHandles val="exact"/>
        </dgm:presLayoutVars>
      </dgm:prSet>
      <dgm:spPr/>
    </dgm:pt>
    <dgm:pt modelId="{9362FE42-A91A-4A50-BF0E-3A1F5D0AE4D4}" type="pres">
      <dgm:prSet presAssocID="{D37ABDDF-74F9-4256-A60D-C75316BC73CD}" presName="composite" presStyleCnt="0"/>
      <dgm:spPr/>
    </dgm:pt>
    <dgm:pt modelId="{41106328-DE78-4295-ACC6-016AECBF66C3}" type="pres">
      <dgm:prSet presAssocID="{D37ABDDF-74F9-4256-A60D-C75316BC73CD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</dgm:pt>
    <dgm:pt modelId="{ABD1B06E-3DFD-4DFF-A277-5C0CEAF70A2C}" type="pres">
      <dgm:prSet presAssocID="{D37ABDDF-74F9-4256-A60D-C75316BC73CD}" presName="desTx" presStyleLbl="alignAccFollowNode1" presStyleIdx="0" presStyleCnt="4">
        <dgm:presLayoutVars>
          <dgm:bulletEnabled val="1"/>
        </dgm:presLayoutVars>
      </dgm:prSet>
      <dgm:spPr/>
    </dgm:pt>
    <dgm:pt modelId="{F9E7A6ED-973F-4802-BCAD-147535198A97}" type="pres">
      <dgm:prSet presAssocID="{652AD86F-67BB-49DA-B235-CBA4BA0C6B2A}" presName="space" presStyleCnt="0"/>
      <dgm:spPr/>
    </dgm:pt>
    <dgm:pt modelId="{694BF1DE-2744-4EE7-AE89-FA7051D0B649}" type="pres">
      <dgm:prSet presAssocID="{F938F016-B305-4987-BF60-74CBD9CBAED8}" presName="composite" presStyleCnt="0"/>
      <dgm:spPr/>
    </dgm:pt>
    <dgm:pt modelId="{57E13BE0-8640-4D58-B3EE-787934E69949}" type="pres">
      <dgm:prSet presAssocID="{F938F016-B305-4987-BF60-74CBD9CBAED8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</dgm:pt>
    <dgm:pt modelId="{1ACD7C56-4D5B-43ED-9FDD-5EFA24A79904}" type="pres">
      <dgm:prSet presAssocID="{F938F016-B305-4987-BF60-74CBD9CBAED8}" presName="desTx" presStyleLbl="alignAccFollowNode1" presStyleIdx="1" presStyleCnt="4">
        <dgm:presLayoutVars>
          <dgm:bulletEnabled val="1"/>
        </dgm:presLayoutVars>
      </dgm:prSet>
      <dgm:spPr/>
    </dgm:pt>
    <dgm:pt modelId="{062C928E-4534-4B20-9BF5-0EF29BB743C3}" type="pres">
      <dgm:prSet presAssocID="{27A94A43-DF57-48CA-82E7-EFC8E29DA8BC}" presName="space" presStyleCnt="0"/>
      <dgm:spPr/>
    </dgm:pt>
    <dgm:pt modelId="{E48B149D-A447-463C-9D26-E20D2D39EABD}" type="pres">
      <dgm:prSet presAssocID="{08AB6024-673A-4C1D-A509-C742EE0ED713}" presName="composite" presStyleCnt="0"/>
      <dgm:spPr/>
    </dgm:pt>
    <dgm:pt modelId="{61E2EBC6-E501-4444-9934-B17DEE1238E2}" type="pres">
      <dgm:prSet presAssocID="{08AB6024-673A-4C1D-A509-C742EE0ED713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</dgm:pt>
    <dgm:pt modelId="{17079683-D40F-432A-94F9-917E43643771}" type="pres">
      <dgm:prSet presAssocID="{08AB6024-673A-4C1D-A509-C742EE0ED713}" presName="desTx" presStyleLbl="alignAccFollowNode1" presStyleIdx="2" presStyleCnt="4">
        <dgm:presLayoutVars>
          <dgm:bulletEnabled val="1"/>
        </dgm:presLayoutVars>
      </dgm:prSet>
      <dgm:spPr/>
    </dgm:pt>
    <dgm:pt modelId="{F9CF866D-4224-4DDE-82D7-C5011EFE99CE}" type="pres">
      <dgm:prSet presAssocID="{3BA1FCFD-E9E6-4792-8034-EA38236AA902}" presName="space" presStyleCnt="0"/>
      <dgm:spPr/>
    </dgm:pt>
    <dgm:pt modelId="{BCF3D57B-30E8-45BF-A962-8EB541E9EBD9}" type="pres">
      <dgm:prSet presAssocID="{5027E790-69E5-4211-849E-77CA8D2AFD82}" presName="composite" presStyleCnt="0"/>
      <dgm:spPr/>
    </dgm:pt>
    <dgm:pt modelId="{CFAD5A39-FFC6-4ECE-AFF4-981D67A6EA34}" type="pres">
      <dgm:prSet presAssocID="{5027E790-69E5-4211-849E-77CA8D2AFD82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</dgm:pt>
    <dgm:pt modelId="{58CD114D-7CE2-4323-8372-3B599F44DB04}" type="pres">
      <dgm:prSet presAssocID="{5027E790-69E5-4211-849E-77CA8D2AFD82}" presName="desTx" presStyleLbl="alignAccFollowNode1" presStyleIdx="3" presStyleCnt="4">
        <dgm:presLayoutVars>
          <dgm:bulletEnabled val="1"/>
        </dgm:presLayoutVars>
      </dgm:prSet>
      <dgm:spPr/>
    </dgm:pt>
  </dgm:ptLst>
  <dgm:cxnLst>
    <dgm:cxn modelId="{9E094409-9DE3-4C9C-BCED-D92E6B632ECA}" type="presOf" srcId="{61CFD2C3-9821-4574-A245-C8F11E128487}" destId="{ABD1B06E-3DFD-4DFF-A277-5C0CEAF70A2C}" srcOrd="0" destOrd="4" presId="urn:microsoft.com/office/officeart/2005/8/layout/hList1"/>
    <dgm:cxn modelId="{8223C30D-C2CF-4650-9CA6-A53CB96F4089}" type="presOf" srcId="{628E6F42-0B8E-45B9-8DF4-156042541F85}" destId="{17079683-D40F-432A-94F9-917E43643771}" srcOrd="0" destOrd="1" presId="urn:microsoft.com/office/officeart/2005/8/layout/hList1"/>
    <dgm:cxn modelId="{3D3E1217-65CA-4F30-8580-82ECC1752CA9}" type="presOf" srcId="{F7380E45-594E-416F-845E-122BAA4E823E}" destId="{ABD1B06E-3DFD-4DFF-A277-5C0CEAF70A2C}" srcOrd="0" destOrd="1" presId="urn:microsoft.com/office/officeart/2005/8/layout/hList1"/>
    <dgm:cxn modelId="{1602212F-1301-49B4-928D-8DBFEFA4B7BE}" srcId="{F938F016-B305-4987-BF60-74CBD9CBAED8}" destId="{FE5B323E-9811-4CEE-9309-55512BC56E1E}" srcOrd="2" destOrd="0" parTransId="{F6A45028-D266-43EF-AA77-38233ED7E8C4}" sibTransId="{03A8C286-9793-4A39-9445-51963252EB10}"/>
    <dgm:cxn modelId="{257D375C-C242-4E7D-894D-B25411126B93}" type="presOf" srcId="{7FD125C3-69CE-4A67-9B5A-E7D92375FBF9}" destId="{17079683-D40F-432A-94F9-917E43643771}" srcOrd="0" destOrd="0" presId="urn:microsoft.com/office/officeart/2005/8/layout/hList1"/>
    <dgm:cxn modelId="{C3728643-8AA1-4177-89B9-7FA69EA535C6}" srcId="{D2B3B601-FA2B-4B44-A614-25D6033060DC}" destId="{F938F016-B305-4987-BF60-74CBD9CBAED8}" srcOrd="1" destOrd="0" parTransId="{AA756826-D808-402F-B3B8-532124867F92}" sibTransId="{27A94A43-DF57-48CA-82E7-EFC8E29DA8BC}"/>
    <dgm:cxn modelId="{BE28B146-2E9D-4E59-A5E0-D48BA5563936}" srcId="{5027E790-69E5-4211-849E-77CA8D2AFD82}" destId="{14B6C0D9-E968-4EDC-8042-2794515E474A}" srcOrd="1" destOrd="0" parTransId="{16C39628-81AD-4366-BB84-D586DF96FF84}" sibTransId="{F96D6385-7BB4-41D1-9E71-751F4AA47411}"/>
    <dgm:cxn modelId="{28FDC969-892C-4BBF-9855-844CC5DAC5B5}" srcId="{F938F016-B305-4987-BF60-74CBD9CBAED8}" destId="{9A8D299C-44FA-4744-BB85-63A2836E0EB3}" srcOrd="0" destOrd="0" parTransId="{69E34FD0-0E06-4A91-8193-7225015FB821}" sibTransId="{8AB9CACB-43DA-4D8A-8416-B0372B0DE517}"/>
    <dgm:cxn modelId="{3B39E14D-47F3-49DF-B625-E798784278EA}" srcId="{D37ABDDF-74F9-4256-A60D-C75316BC73CD}" destId="{EAE694C8-DA5C-41D9-A4F1-9A7FB777CE5A}" srcOrd="2" destOrd="0" parTransId="{E4B01726-DAC4-4C0E-9B4D-D73EAAAF10A2}" sibTransId="{630DC9A0-4D24-4702-B19A-5232B4B64A12}"/>
    <dgm:cxn modelId="{8FD7384F-C232-4FC4-8CFE-75FB4388F255}" srcId="{F938F016-B305-4987-BF60-74CBD9CBAED8}" destId="{72B451CD-7D96-412C-B27B-E65129B501B5}" srcOrd="1" destOrd="0" parTransId="{C0144280-539D-42F0-A2AD-460B7B6704A8}" sibTransId="{DFED7A3D-5BF0-48E1-96CE-9E5CCD6FD665}"/>
    <dgm:cxn modelId="{8435B54F-2998-4633-B177-7CBF70E5E2BD}" type="presOf" srcId="{8D570C7C-C720-4C52-AF82-C67406F1C950}" destId="{ABD1B06E-3DFD-4DFF-A277-5C0CEAF70A2C}" srcOrd="0" destOrd="0" presId="urn:microsoft.com/office/officeart/2005/8/layout/hList1"/>
    <dgm:cxn modelId="{CB745B57-DB2B-4AB6-B566-1F369D289C0F}" type="presOf" srcId="{5027E790-69E5-4211-849E-77CA8D2AFD82}" destId="{CFAD5A39-FFC6-4ECE-AFF4-981D67A6EA34}" srcOrd="0" destOrd="0" presId="urn:microsoft.com/office/officeart/2005/8/layout/hList1"/>
    <dgm:cxn modelId="{F472E757-AA1B-4CEC-937A-0EEEC2B6B59F}" srcId="{08AB6024-673A-4C1D-A509-C742EE0ED713}" destId="{628E6F42-0B8E-45B9-8DF4-156042541F85}" srcOrd="1" destOrd="0" parTransId="{6E1B2C0F-2B83-45EB-97BA-9AD1D5A55D22}" sibTransId="{192EADB6-AC0F-4865-9E0D-ECC941A5CB81}"/>
    <dgm:cxn modelId="{6EDA2C59-1523-4315-9382-87545E414BF0}" type="presOf" srcId="{701D30CE-CADC-425F-9097-6488017C9C5C}" destId="{58CD114D-7CE2-4323-8372-3B599F44DB04}" srcOrd="0" destOrd="3" presId="urn:microsoft.com/office/officeart/2005/8/layout/hList1"/>
    <dgm:cxn modelId="{462BE47C-7639-4E34-BD59-8D508E835D43}" type="presOf" srcId="{D2B3B601-FA2B-4B44-A614-25D6033060DC}" destId="{90BE84D6-0A01-4640-923D-D76AA097B708}" srcOrd="0" destOrd="0" presId="urn:microsoft.com/office/officeart/2005/8/layout/hList1"/>
    <dgm:cxn modelId="{B415547F-A84A-458D-A9C4-E190DD92EFC3}" srcId="{D2B3B601-FA2B-4B44-A614-25D6033060DC}" destId="{5027E790-69E5-4211-849E-77CA8D2AFD82}" srcOrd="3" destOrd="0" parTransId="{00FFE2D2-96F3-4F9B-B224-020A1A0D4F3B}" sibTransId="{07B68F33-04A5-4A30-9F68-9C4B24D4F485}"/>
    <dgm:cxn modelId="{1F6AB782-9A05-4F9B-AF97-CDBDB76C9560}" srcId="{08AB6024-673A-4C1D-A509-C742EE0ED713}" destId="{7FD125C3-69CE-4A67-9B5A-E7D92375FBF9}" srcOrd="0" destOrd="0" parTransId="{76845B53-C0ED-4886-8E8F-97407D5A0D2E}" sibTransId="{67755BB8-B2CB-4784-86F0-FF7B6E115146}"/>
    <dgm:cxn modelId="{AB7C8E85-DDF7-45CF-BEC3-C0493054F275}" type="presOf" srcId="{72B451CD-7D96-412C-B27B-E65129B501B5}" destId="{1ACD7C56-4D5B-43ED-9FDD-5EFA24A79904}" srcOrd="0" destOrd="1" presId="urn:microsoft.com/office/officeart/2005/8/layout/hList1"/>
    <dgm:cxn modelId="{45763890-DF7F-4F41-BDBA-2B5025C7E20E}" type="presOf" srcId="{5BB9FEFF-2409-4104-83C7-35ADE0310A1B}" destId="{58CD114D-7CE2-4323-8372-3B599F44DB04}" srcOrd="0" destOrd="0" presId="urn:microsoft.com/office/officeart/2005/8/layout/hList1"/>
    <dgm:cxn modelId="{C5A06B94-A0B0-4476-BAF3-5596DB06699D}" srcId="{08AB6024-673A-4C1D-A509-C742EE0ED713}" destId="{7E24BC21-1186-46FC-9C70-F2C5A60EA18E}" srcOrd="2" destOrd="0" parTransId="{DF36F2D3-3911-46E2-A775-31904C6E121A}" sibTransId="{896C77A6-46C7-4ACB-8571-9D8D62EF102B}"/>
    <dgm:cxn modelId="{04D37699-C373-4573-BB16-DCE3328283A0}" srcId="{D37ABDDF-74F9-4256-A60D-C75316BC73CD}" destId="{3342B615-10BF-41F0-B169-55755CE4CFF0}" srcOrd="3" destOrd="0" parTransId="{8029EBAB-9DD5-4D8D-B446-FF1578166CDD}" sibTransId="{61BBCBE3-C8C8-438A-A84A-DDBBCA936D3E}"/>
    <dgm:cxn modelId="{FB66399C-F36F-4247-B22A-23920FAC6082}" srcId="{5027E790-69E5-4211-849E-77CA8D2AFD82}" destId="{5BB9FEFF-2409-4104-83C7-35ADE0310A1B}" srcOrd="0" destOrd="0" parTransId="{6A7B5213-28CD-4183-B7FF-36F2B60E514D}" sibTransId="{0AC2BA15-A303-4C98-B402-9DDF6212DBA5}"/>
    <dgm:cxn modelId="{4AE6549D-9B4D-4DFC-A5E1-95E5B9198FD3}" type="presOf" srcId="{3342B615-10BF-41F0-B169-55755CE4CFF0}" destId="{ABD1B06E-3DFD-4DFF-A277-5C0CEAF70A2C}" srcOrd="0" destOrd="3" presId="urn:microsoft.com/office/officeart/2005/8/layout/hList1"/>
    <dgm:cxn modelId="{D55A21A2-D149-42B4-BDA2-B0AC0DFEC29D}" srcId="{D37ABDDF-74F9-4256-A60D-C75316BC73CD}" destId="{61CFD2C3-9821-4574-A245-C8F11E128487}" srcOrd="4" destOrd="0" parTransId="{7C172777-B893-4D06-95F6-F66C9CB9BE8E}" sibTransId="{33811E77-68B5-4067-B924-BC20D35A0BBD}"/>
    <dgm:cxn modelId="{E4AB69A4-3956-4B6F-B2D9-6FCC73EEE289}" srcId="{D37ABDDF-74F9-4256-A60D-C75316BC73CD}" destId="{F7380E45-594E-416F-845E-122BAA4E823E}" srcOrd="1" destOrd="0" parTransId="{2A18BEA4-0E16-49EF-BD3F-D6109DD98641}" sibTransId="{E58E9414-512E-4665-80C3-0150DFD46FDF}"/>
    <dgm:cxn modelId="{E4B50AA7-9458-4D7D-8166-667FAFBDFBDC}" srcId="{D37ABDDF-74F9-4256-A60D-C75316BC73CD}" destId="{8D570C7C-C720-4C52-AF82-C67406F1C950}" srcOrd="0" destOrd="0" parTransId="{57A769DF-3560-49FB-9FAB-895D5AFCEDE9}" sibTransId="{E4EBF04B-9477-4485-AC2C-8F5064C4A22E}"/>
    <dgm:cxn modelId="{4A31DCB0-E7D7-4382-AF0E-DB7FE13910D6}" type="presOf" srcId="{EAE694C8-DA5C-41D9-A4F1-9A7FB777CE5A}" destId="{ABD1B06E-3DFD-4DFF-A277-5C0CEAF70A2C}" srcOrd="0" destOrd="2" presId="urn:microsoft.com/office/officeart/2005/8/layout/hList1"/>
    <dgm:cxn modelId="{EDA859B1-9702-4172-AF24-DBE95B5A2DB4}" type="presOf" srcId="{D37ABDDF-74F9-4256-A60D-C75316BC73CD}" destId="{41106328-DE78-4295-ACC6-016AECBF66C3}" srcOrd="0" destOrd="0" presId="urn:microsoft.com/office/officeart/2005/8/layout/hList1"/>
    <dgm:cxn modelId="{C6E7CEBE-EEF1-4FB1-A7EA-EDF4DC8CEF11}" type="presOf" srcId="{08AB6024-673A-4C1D-A509-C742EE0ED713}" destId="{61E2EBC6-E501-4444-9934-B17DEE1238E2}" srcOrd="0" destOrd="0" presId="urn:microsoft.com/office/officeart/2005/8/layout/hList1"/>
    <dgm:cxn modelId="{AB67C4CD-F207-4599-884F-A32CEF3794F7}" type="presOf" srcId="{F938F016-B305-4987-BF60-74CBD9CBAED8}" destId="{57E13BE0-8640-4D58-B3EE-787934E69949}" srcOrd="0" destOrd="0" presId="urn:microsoft.com/office/officeart/2005/8/layout/hList1"/>
    <dgm:cxn modelId="{F319C4D1-1F89-471E-B4AA-78071757CF4B}" type="presOf" srcId="{9A8D299C-44FA-4744-BB85-63A2836E0EB3}" destId="{1ACD7C56-4D5B-43ED-9FDD-5EFA24A79904}" srcOrd="0" destOrd="0" presId="urn:microsoft.com/office/officeart/2005/8/layout/hList1"/>
    <dgm:cxn modelId="{8E33F7D5-510D-422A-A54D-B40B569C7623}" type="presOf" srcId="{A236D5DE-7224-4C73-8DD1-C75D7402575B}" destId="{58CD114D-7CE2-4323-8372-3B599F44DB04}" srcOrd="0" destOrd="2" presId="urn:microsoft.com/office/officeart/2005/8/layout/hList1"/>
    <dgm:cxn modelId="{A3831AD7-7E75-4B97-AC12-5DDBD5F0D929}" srcId="{D2B3B601-FA2B-4B44-A614-25D6033060DC}" destId="{D37ABDDF-74F9-4256-A60D-C75316BC73CD}" srcOrd="0" destOrd="0" parTransId="{A47D68E9-EC68-42F5-A028-C5B05E4BDD68}" sibTransId="{652AD86F-67BB-49DA-B235-CBA4BA0C6B2A}"/>
    <dgm:cxn modelId="{599643D7-B685-4756-BAAC-CBEA586D87A4}" srcId="{5027E790-69E5-4211-849E-77CA8D2AFD82}" destId="{A236D5DE-7224-4C73-8DD1-C75D7402575B}" srcOrd="2" destOrd="0" parTransId="{EF3178E2-9DA7-4AB6-8474-B00AB2CEB022}" sibTransId="{0B8169E0-398C-43B4-BAB5-563350159505}"/>
    <dgm:cxn modelId="{8FBE9CDB-26AE-4DB8-AD38-5FF0CFCC67EF}" type="presOf" srcId="{14B6C0D9-E968-4EDC-8042-2794515E474A}" destId="{58CD114D-7CE2-4323-8372-3B599F44DB04}" srcOrd="0" destOrd="1" presId="urn:microsoft.com/office/officeart/2005/8/layout/hList1"/>
    <dgm:cxn modelId="{4697BDE2-4890-4B6F-9050-9D3E75F6CCC5}" type="presOf" srcId="{FE5B323E-9811-4CEE-9309-55512BC56E1E}" destId="{1ACD7C56-4D5B-43ED-9FDD-5EFA24A79904}" srcOrd="0" destOrd="2" presId="urn:microsoft.com/office/officeart/2005/8/layout/hList1"/>
    <dgm:cxn modelId="{559285E6-5EA3-4109-9597-665F96250C09}" srcId="{D2B3B601-FA2B-4B44-A614-25D6033060DC}" destId="{08AB6024-673A-4C1D-A509-C742EE0ED713}" srcOrd="2" destOrd="0" parTransId="{CA26B13F-E5FB-42D2-A0A8-B5E3601F3E2D}" sibTransId="{3BA1FCFD-E9E6-4792-8034-EA38236AA902}"/>
    <dgm:cxn modelId="{3DBFA4E6-BD65-4EDD-8353-E60744E27D40}" type="presOf" srcId="{7E24BC21-1186-46FC-9C70-F2C5A60EA18E}" destId="{17079683-D40F-432A-94F9-917E43643771}" srcOrd="0" destOrd="2" presId="urn:microsoft.com/office/officeart/2005/8/layout/hList1"/>
    <dgm:cxn modelId="{85F28BE8-E1B3-4717-BA84-AAF0ED214FD2}" srcId="{5027E790-69E5-4211-849E-77CA8D2AFD82}" destId="{701D30CE-CADC-425F-9097-6488017C9C5C}" srcOrd="3" destOrd="0" parTransId="{5A633FAB-7797-40E1-ABCD-C757DE338C2E}" sibTransId="{5674E3F9-8B3C-41E4-A5E8-CF46FDFF6C1C}"/>
    <dgm:cxn modelId="{0E34E110-84E9-4528-8116-5595DAA003DA}" type="presParOf" srcId="{90BE84D6-0A01-4640-923D-D76AA097B708}" destId="{9362FE42-A91A-4A50-BF0E-3A1F5D0AE4D4}" srcOrd="0" destOrd="0" presId="urn:microsoft.com/office/officeart/2005/8/layout/hList1"/>
    <dgm:cxn modelId="{A5844C18-F297-47BE-B29C-95DF6521541D}" type="presParOf" srcId="{9362FE42-A91A-4A50-BF0E-3A1F5D0AE4D4}" destId="{41106328-DE78-4295-ACC6-016AECBF66C3}" srcOrd="0" destOrd="0" presId="urn:microsoft.com/office/officeart/2005/8/layout/hList1"/>
    <dgm:cxn modelId="{3123973C-19B4-45C6-9216-980DFC2ED93E}" type="presParOf" srcId="{9362FE42-A91A-4A50-BF0E-3A1F5D0AE4D4}" destId="{ABD1B06E-3DFD-4DFF-A277-5C0CEAF70A2C}" srcOrd="1" destOrd="0" presId="urn:microsoft.com/office/officeart/2005/8/layout/hList1"/>
    <dgm:cxn modelId="{FC6EAED1-9047-4DCF-872C-C0773C19B913}" type="presParOf" srcId="{90BE84D6-0A01-4640-923D-D76AA097B708}" destId="{F9E7A6ED-973F-4802-BCAD-147535198A97}" srcOrd="1" destOrd="0" presId="urn:microsoft.com/office/officeart/2005/8/layout/hList1"/>
    <dgm:cxn modelId="{EDEFCB86-8BCC-4F90-A2F1-9D99EF2C88BB}" type="presParOf" srcId="{90BE84D6-0A01-4640-923D-D76AA097B708}" destId="{694BF1DE-2744-4EE7-AE89-FA7051D0B649}" srcOrd="2" destOrd="0" presId="urn:microsoft.com/office/officeart/2005/8/layout/hList1"/>
    <dgm:cxn modelId="{B6FFD04E-88C5-4AAA-9AA2-D752AD0A62C9}" type="presParOf" srcId="{694BF1DE-2744-4EE7-AE89-FA7051D0B649}" destId="{57E13BE0-8640-4D58-B3EE-787934E69949}" srcOrd="0" destOrd="0" presId="urn:microsoft.com/office/officeart/2005/8/layout/hList1"/>
    <dgm:cxn modelId="{0D5F1031-ED3A-46D6-8789-1E1485430238}" type="presParOf" srcId="{694BF1DE-2744-4EE7-AE89-FA7051D0B649}" destId="{1ACD7C56-4D5B-43ED-9FDD-5EFA24A79904}" srcOrd="1" destOrd="0" presId="urn:microsoft.com/office/officeart/2005/8/layout/hList1"/>
    <dgm:cxn modelId="{FFF4E9F2-A634-4555-9CD3-4026AC257999}" type="presParOf" srcId="{90BE84D6-0A01-4640-923D-D76AA097B708}" destId="{062C928E-4534-4B20-9BF5-0EF29BB743C3}" srcOrd="3" destOrd="0" presId="urn:microsoft.com/office/officeart/2005/8/layout/hList1"/>
    <dgm:cxn modelId="{871975E1-769B-49A4-8C0F-59E856235381}" type="presParOf" srcId="{90BE84D6-0A01-4640-923D-D76AA097B708}" destId="{E48B149D-A447-463C-9D26-E20D2D39EABD}" srcOrd="4" destOrd="0" presId="urn:microsoft.com/office/officeart/2005/8/layout/hList1"/>
    <dgm:cxn modelId="{9B547A3B-88BE-4376-BA86-8795D75F1FB2}" type="presParOf" srcId="{E48B149D-A447-463C-9D26-E20D2D39EABD}" destId="{61E2EBC6-E501-4444-9934-B17DEE1238E2}" srcOrd="0" destOrd="0" presId="urn:microsoft.com/office/officeart/2005/8/layout/hList1"/>
    <dgm:cxn modelId="{74336FCD-7BEC-43A5-B57B-3928F893D89E}" type="presParOf" srcId="{E48B149D-A447-463C-9D26-E20D2D39EABD}" destId="{17079683-D40F-432A-94F9-917E43643771}" srcOrd="1" destOrd="0" presId="urn:microsoft.com/office/officeart/2005/8/layout/hList1"/>
    <dgm:cxn modelId="{772801D5-BF62-4A38-B2B4-CEEEBA900672}" type="presParOf" srcId="{90BE84D6-0A01-4640-923D-D76AA097B708}" destId="{F9CF866D-4224-4DDE-82D7-C5011EFE99CE}" srcOrd="5" destOrd="0" presId="urn:microsoft.com/office/officeart/2005/8/layout/hList1"/>
    <dgm:cxn modelId="{34531ECC-08D3-44EF-8D98-2238477D2487}" type="presParOf" srcId="{90BE84D6-0A01-4640-923D-D76AA097B708}" destId="{BCF3D57B-30E8-45BF-A962-8EB541E9EBD9}" srcOrd="6" destOrd="0" presId="urn:microsoft.com/office/officeart/2005/8/layout/hList1"/>
    <dgm:cxn modelId="{D7BEEFA2-7285-4510-A144-E3555E893A79}" type="presParOf" srcId="{BCF3D57B-30E8-45BF-A962-8EB541E9EBD9}" destId="{CFAD5A39-FFC6-4ECE-AFF4-981D67A6EA34}" srcOrd="0" destOrd="0" presId="urn:microsoft.com/office/officeart/2005/8/layout/hList1"/>
    <dgm:cxn modelId="{F262101F-B4F8-46D4-B845-E80A974B750E}" type="presParOf" srcId="{BCF3D57B-30E8-45BF-A962-8EB541E9EBD9}" destId="{58CD114D-7CE2-4323-8372-3B599F44DB0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4369083-12F3-4AAA-B8F4-481EAF50157E}" type="doc">
      <dgm:prSet loTypeId="urn:microsoft.com/office/officeart/2005/8/layout/hProcess10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BE"/>
        </a:p>
      </dgm:t>
    </dgm:pt>
    <dgm:pt modelId="{5B74E064-F0BF-4ED6-83C8-30E6FF61A960}">
      <dgm:prSet phldrT="[Text]"/>
      <dgm:spPr/>
      <dgm:t>
        <a:bodyPr/>
        <a:lstStyle/>
        <a:p>
          <a:r>
            <a:rPr lang="en-GB" dirty="0">
              <a:solidFill>
                <a:srgbClr val="FF0000"/>
              </a:solidFill>
            </a:rPr>
            <a:t>June</a:t>
          </a:r>
          <a:endParaRPr lang="en-BE" dirty="0">
            <a:solidFill>
              <a:srgbClr val="FF0000"/>
            </a:solidFill>
          </a:endParaRPr>
        </a:p>
      </dgm:t>
    </dgm:pt>
    <dgm:pt modelId="{622BF50A-AB07-4C22-9179-5EAAA0006D04}" type="parTrans" cxnId="{C97A9379-4A90-47A9-816C-9DB3B39873F1}">
      <dgm:prSet/>
      <dgm:spPr/>
      <dgm:t>
        <a:bodyPr/>
        <a:lstStyle/>
        <a:p>
          <a:endParaRPr lang="en-BE"/>
        </a:p>
      </dgm:t>
    </dgm:pt>
    <dgm:pt modelId="{5A8E4242-FC48-439B-B244-0186183B626E}" type="sibTrans" cxnId="{C97A9379-4A90-47A9-816C-9DB3B39873F1}">
      <dgm:prSet/>
      <dgm:spPr/>
      <dgm:t>
        <a:bodyPr/>
        <a:lstStyle/>
        <a:p>
          <a:endParaRPr lang="en-BE"/>
        </a:p>
      </dgm:t>
    </dgm:pt>
    <dgm:pt modelId="{B7EF0E84-9509-40AC-807B-E208C49001E3}">
      <dgm:prSet phldrT="[Text]"/>
      <dgm:spPr/>
      <dgm:t>
        <a:bodyPr/>
        <a:lstStyle/>
        <a:p>
          <a:r>
            <a:rPr lang="en-GB" dirty="0"/>
            <a:t>704 MEPs</a:t>
          </a:r>
          <a:endParaRPr lang="en-BE" dirty="0"/>
        </a:p>
      </dgm:t>
    </dgm:pt>
    <dgm:pt modelId="{5E9EBBAA-78E9-43CB-BD72-9F9FEA0AE186}" type="parTrans" cxnId="{DB910001-FB92-495A-8E6E-E9C9935522B6}">
      <dgm:prSet/>
      <dgm:spPr/>
      <dgm:t>
        <a:bodyPr/>
        <a:lstStyle/>
        <a:p>
          <a:endParaRPr lang="en-BE"/>
        </a:p>
      </dgm:t>
    </dgm:pt>
    <dgm:pt modelId="{1B3832A6-43C9-4AC3-BFC2-E8915360337A}" type="sibTrans" cxnId="{DB910001-FB92-495A-8E6E-E9C9935522B6}">
      <dgm:prSet/>
      <dgm:spPr/>
      <dgm:t>
        <a:bodyPr/>
        <a:lstStyle/>
        <a:p>
          <a:endParaRPr lang="en-BE"/>
        </a:p>
      </dgm:t>
    </dgm:pt>
    <dgm:pt modelId="{E670668C-24E9-469B-ADAB-5E72890DA511}">
      <dgm:prSet phldrT="[Text]"/>
      <dgm:spPr/>
      <dgm:t>
        <a:bodyPr/>
        <a:lstStyle/>
        <a:p>
          <a:r>
            <a:rPr lang="en-GB" dirty="0"/>
            <a:t>Political Groups</a:t>
          </a:r>
          <a:endParaRPr lang="en-BE" dirty="0"/>
        </a:p>
      </dgm:t>
    </dgm:pt>
    <dgm:pt modelId="{4E95E74A-8FBA-430D-B8A2-F940191B37AC}" type="parTrans" cxnId="{26C13523-8AAF-488F-883D-F4B3AA64843D}">
      <dgm:prSet/>
      <dgm:spPr/>
      <dgm:t>
        <a:bodyPr/>
        <a:lstStyle/>
        <a:p>
          <a:endParaRPr lang="en-BE"/>
        </a:p>
      </dgm:t>
    </dgm:pt>
    <dgm:pt modelId="{71C8C31B-0617-4960-BB9C-93D6A7DAA9F4}" type="sibTrans" cxnId="{26C13523-8AAF-488F-883D-F4B3AA64843D}">
      <dgm:prSet/>
      <dgm:spPr/>
      <dgm:t>
        <a:bodyPr/>
        <a:lstStyle/>
        <a:p>
          <a:endParaRPr lang="en-BE"/>
        </a:p>
      </dgm:t>
    </dgm:pt>
    <dgm:pt modelId="{1CD3A32E-5E0C-433B-BC7A-89E84605E692}">
      <dgm:prSet phldrT="[Text]"/>
      <dgm:spPr/>
      <dgm:t>
        <a:bodyPr/>
        <a:lstStyle/>
        <a:p>
          <a:r>
            <a:rPr lang="en-GB" dirty="0"/>
            <a:t>President of the EC</a:t>
          </a:r>
          <a:endParaRPr lang="en-BE" dirty="0"/>
        </a:p>
      </dgm:t>
    </dgm:pt>
    <dgm:pt modelId="{610C844B-8EE2-4F93-B828-83673087A46A}" type="parTrans" cxnId="{3F916911-C2E7-44A2-85D0-E7D1225CD3C7}">
      <dgm:prSet/>
      <dgm:spPr/>
      <dgm:t>
        <a:bodyPr/>
        <a:lstStyle/>
        <a:p>
          <a:endParaRPr lang="en-BE"/>
        </a:p>
      </dgm:t>
    </dgm:pt>
    <dgm:pt modelId="{879F6E4D-0078-47B2-8290-0CBDA444B231}" type="sibTrans" cxnId="{3F916911-C2E7-44A2-85D0-E7D1225CD3C7}">
      <dgm:prSet/>
      <dgm:spPr/>
      <dgm:t>
        <a:bodyPr/>
        <a:lstStyle/>
        <a:p>
          <a:endParaRPr lang="en-BE"/>
        </a:p>
      </dgm:t>
    </dgm:pt>
    <dgm:pt modelId="{10B443BC-D517-4CC9-BA62-26CA0D13F931}">
      <dgm:prSet phldrT="[Text]"/>
      <dgm:spPr/>
      <dgm:t>
        <a:bodyPr/>
        <a:lstStyle/>
        <a:p>
          <a:r>
            <a:rPr lang="en-GB" dirty="0"/>
            <a:t>27 Commissioners</a:t>
          </a:r>
          <a:endParaRPr lang="en-BE" dirty="0"/>
        </a:p>
      </dgm:t>
    </dgm:pt>
    <dgm:pt modelId="{C1464FC4-FE8C-4459-9341-70F47BC78315}" type="parTrans" cxnId="{53EB98EF-EBA8-41AB-9D5D-26AB790F751A}">
      <dgm:prSet/>
      <dgm:spPr/>
      <dgm:t>
        <a:bodyPr/>
        <a:lstStyle/>
        <a:p>
          <a:endParaRPr lang="en-BE"/>
        </a:p>
      </dgm:t>
    </dgm:pt>
    <dgm:pt modelId="{B448B89C-9039-44F6-8F31-5449D2159528}" type="sibTrans" cxnId="{53EB98EF-EBA8-41AB-9D5D-26AB790F751A}">
      <dgm:prSet/>
      <dgm:spPr/>
      <dgm:t>
        <a:bodyPr/>
        <a:lstStyle/>
        <a:p>
          <a:endParaRPr lang="en-BE"/>
        </a:p>
      </dgm:t>
    </dgm:pt>
    <dgm:pt modelId="{45C5B8B2-61B7-4AD7-9D4D-580677BE769B}">
      <dgm:prSet phldrT="[Text]"/>
      <dgm:spPr/>
      <dgm:t>
        <a:bodyPr/>
        <a:lstStyle/>
        <a:p>
          <a:r>
            <a:rPr lang="en-GB" dirty="0">
              <a:solidFill>
                <a:srgbClr val="FF0000"/>
              </a:solidFill>
            </a:rPr>
            <a:t>July onwards</a:t>
          </a:r>
          <a:endParaRPr lang="en-BE" dirty="0">
            <a:solidFill>
              <a:srgbClr val="FF0000"/>
            </a:solidFill>
          </a:endParaRPr>
        </a:p>
      </dgm:t>
    </dgm:pt>
    <dgm:pt modelId="{0873FD67-DF42-4071-8093-AA8D87908036}" type="sibTrans" cxnId="{71193B6A-2CB7-4043-87C0-C443E14D5977}">
      <dgm:prSet/>
      <dgm:spPr/>
      <dgm:t>
        <a:bodyPr/>
        <a:lstStyle/>
        <a:p>
          <a:endParaRPr lang="en-BE"/>
        </a:p>
      </dgm:t>
    </dgm:pt>
    <dgm:pt modelId="{887F28CA-4C38-4541-AF61-2BC73270F6B8}" type="parTrans" cxnId="{71193B6A-2CB7-4043-87C0-C443E14D5977}">
      <dgm:prSet/>
      <dgm:spPr/>
      <dgm:t>
        <a:bodyPr/>
        <a:lstStyle/>
        <a:p>
          <a:endParaRPr lang="en-BE"/>
        </a:p>
      </dgm:t>
    </dgm:pt>
    <dgm:pt modelId="{1A1E0DF5-F648-489D-9D0E-DC6C2D82BE76}">
      <dgm:prSet phldrT="[Text]"/>
      <dgm:spPr/>
      <dgm:t>
        <a:bodyPr/>
        <a:lstStyle/>
        <a:p>
          <a:r>
            <a:rPr lang="en-GB" dirty="0">
              <a:solidFill>
                <a:srgbClr val="FF0000"/>
              </a:solidFill>
            </a:rPr>
            <a:t>2025-2030</a:t>
          </a:r>
          <a:endParaRPr lang="en-BE" dirty="0">
            <a:solidFill>
              <a:srgbClr val="FF0000"/>
            </a:solidFill>
          </a:endParaRPr>
        </a:p>
      </dgm:t>
    </dgm:pt>
    <dgm:pt modelId="{C4097788-BB0E-44EB-95A8-6F2BF7C483EE}" type="parTrans" cxnId="{29D0FE2F-4990-4ADA-BBAD-11B9EA9BA7AE}">
      <dgm:prSet/>
      <dgm:spPr/>
      <dgm:t>
        <a:bodyPr/>
        <a:lstStyle/>
        <a:p>
          <a:endParaRPr lang="en-BE"/>
        </a:p>
      </dgm:t>
    </dgm:pt>
    <dgm:pt modelId="{9A1332A3-BB28-4DE0-BFF0-B2BE61F94EFF}" type="sibTrans" cxnId="{29D0FE2F-4990-4ADA-BBAD-11B9EA9BA7AE}">
      <dgm:prSet/>
      <dgm:spPr/>
      <dgm:t>
        <a:bodyPr/>
        <a:lstStyle/>
        <a:p>
          <a:endParaRPr lang="en-BE"/>
        </a:p>
      </dgm:t>
    </dgm:pt>
    <dgm:pt modelId="{639C0124-F413-44D9-8505-3174BAB7C8B4}">
      <dgm:prSet phldrT="[Text]"/>
      <dgm:spPr/>
      <dgm:t>
        <a:bodyPr/>
        <a:lstStyle/>
        <a:p>
          <a:r>
            <a:rPr lang="en-GB" dirty="0"/>
            <a:t>Annual budget €180 </a:t>
          </a:r>
          <a:r>
            <a:rPr lang="en-GB" dirty="0" err="1"/>
            <a:t>bln</a:t>
          </a:r>
          <a:endParaRPr lang="en-BE" dirty="0"/>
        </a:p>
      </dgm:t>
    </dgm:pt>
    <dgm:pt modelId="{4103218D-C2BE-41F1-B32E-F30E9C38A536}" type="parTrans" cxnId="{05A6FE2E-F67A-4601-B739-197019755C49}">
      <dgm:prSet/>
      <dgm:spPr/>
      <dgm:t>
        <a:bodyPr/>
        <a:lstStyle/>
        <a:p>
          <a:endParaRPr lang="en-BE"/>
        </a:p>
      </dgm:t>
    </dgm:pt>
    <dgm:pt modelId="{E31DB937-7ED9-4FB7-B202-DA582D40376D}" type="sibTrans" cxnId="{05A6FE2E-F67A-4601-B739-197019755C49}">
      <dgm:prSet/>
      <dgm:spPr/>
      <dgm:t>
        <a:bodyPr/>
        <a:lstStyle/>
        <a:p>
          <a:endParaRPr lang="en-BE"/>
        </a:p>
      </dgm:t>
    </dgm:pt>
    <dgm:pt modelId="{2FF6083E-4D20-4A1D-9B72-F67E3329B706}">
      <dgm:prSet phldrT="[Text]"/>
      <dgm:spPr/>
      <dgm:t>
        <a:bodyPr/>
        <a:lstStyle/>
        <a:p>
          <a:r>
            <a:rPr lang="en-GB" dirty="0"/>
            <a:t>Political &amp; economic priorities</a:t>
          </a:r>
          <a:endParaRPr lang="en-BE" dirty="0"/>
        </a:p>
      </dgm:t>
    </dgm:pt>
    <dgm:pt modelId="{742E0369-C188-4FB2-A8E7-CB7E824FF959}" type="parTrans" cxnId="{93804BBE-94D4-411B-8FA1-A8AC6191E6F8}">
      <dgm:prSet/>
      <dgm:spPr/>
      <dgm:t>
        <a:bodyPr/>
        <a:lstStyle/>
        <a:p>
          <a:endParaRPr lang="en-BE"/>
        </a:p>
      </dgm:t>
    </dgm:pt>
    <dgm:pt modelId="{F793B38F-243D-469A-A3DC-2F837FDF5A52}" type="sibTrans" cxnId="{93804BBE-94D4-411B-8FA1-A8AC6191E6F8}">
      <dgm:prSet/>
      <dgm:spPr/>
      <dgm:t>
        <a:bodyPr/>
        <a:lstStyle/>
        <a:p>
          <a:endParaRPr lang="en-BE"/>
        </a:p>
      </dgm:t>
    </dgm:pt>
    <dgm:pt modelId="{E4E8CAAF-485B-423A-A038-7B272D9ACDBE}" type="pres">
      <dgm:prSet presAssocID="{84369083-12F3-4AAA-B8F4-481EAF50157E}" presName="Name0" presStyleCnt="0">
        <dgm:presLayoutVars>
          <dgm:dir/>
          <dgm:resizeHandles val="exact"/>
        </dgm:presLayoutVars>
      </dgm:prSet>
      <dgm:spPr/>
    </dgm:pt>
    <dgm:pt modelId="{39ED0F72-BE62-4D5D-94BB-731E7F6112E7}" type="pres">
      <dgm:prSet presAssocID="{5B74E064-F0BF-4ED6-83C8-30E6FF61A960}" presName="composite" presStyleCnt="0"/>
      <dgm:spPr/>
    </dgm:pt>
    <dgm:pt modelId="{56A8603D-D98E-40EC-8BEF-60D551CB23BA}" type="pres">
      <dgm:prSet presAssocID="{5B74E064-F0BF-4ED6-83C8-30E6FF61A960}" presName="imagSh" presStyleLbl="bgImgPlace1" presStyleIdx="0" presStyleCnt="3" custLinFactNeighborY="-931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3000" r="-23000"/>
          </a:stretch>
        </a:blipFill>
      </dgm:spPr>
    </dgm:pt>
    <dgm:pt modelId="{04CFE7C8-2BAC-49F6-88D4-7EB348BA715B}" type="pres">
      <dgm:prSet presAssocID="{5B74E064-F0BF-4ED6-83C8-30E6FF61A960}" presName="txNode" presStyleLbl="node1" presStyleIdx="0" presStyleCnt="3" custScaleX="159123">
        <dgm:presLayoutVars>
          <dgm:bulletEnabled val="1"/>
        </dgm:presLayoutVars>
      </dgm:prSet>
      <dgm:spPr/>
    </dgm:pt>
    <dgm:pt modelId="{3C4E4FD0-0FCF-4ECF-97C6-174CBB1B56B1}" type="pres">
      <dgm:prSet presAssocID="{5A8E4242-FC48-439B-B244-0186183B626E}" presName="sibTrans" presStyleLbl="sibTrans2D1" presStyleIdx="0" presStyleCnt="2"/>
      <dgm:spPr/>
    </dgm:pt>
    <dgm:pt modelId="{214D6C45-73FC-4569-9E69-D3609DFDF913}" type="pres">
      <dgm:prSet presAssocID="{5A8E4242-FC48-439B-B244-0186183B626E}" presName="connTx" presStyleLbl="sibTrans2D1" presStyleIdx="0" presStyleCnt="2"/>
      <dgm:spPr/>
    </dgm:pt>
    <dgm:pt modelId="{E230F13C-C657-4984-BFFE-AA6BA7025FC1}" type="pres">
      <dgm:prSet presAssocID="{45C5B8B2-61B7-4AD7-9D4D-580677BE769B}" presName="composite" presStyleCnt="0"/>
      <dgm:spPr/>
    </dgm:pt>
    <dgm:pt modelId="{DD982CCF-E1B2-4A54-8125-CFFADF0B7239}" type="pres">
      <dgm:prSet presAssocID="{45C5B8B2-61B7-4AD7-9D4D-580677BE769B}" presName="imagSh" presStyleLbl="bgImgPlace1" presStyleIdx="1" presStyleCnt="3" custLinFactNeighborY="-11064"/>
      <dgm:spPr>
        <a:blipFill>
          <a:blip xmlns:r="http://schemas.openxmlformats.org/officeDocument/2006/relationships" r:embed="rId2"/>
          <a:srcRect/>
          <a:stretch>
            <a:fillRect l="-22000" r="-22000"/>
          </a:stretch>
        </a:blipFill>
      </dgm:spPr>
    </dgm:pt>
    <dgm:pt modelId="{131BA05F-C8AC-448A-8D88-D45E9F7FC43A}" type="pres">
      <dgm:prSet presAssocID="{45C5B8B2-61B7-4AD7-9D4D-580677BE769B}" presName="txNode" presStyleLbl="node1" presStyleIdx="1" presStyleCnt="3" custScaleX="159656">
        <dgm:presLayoutVars>
          <dgm:bulletEnabled val="1"/>
        </dgm:presLayoutVars>
      </dgm:prSet>
      <dgm:spPr/>
    </dgm:pt>
    <dgm:pt modelId="{74C2ED45-E846-4325-ACFF-2EF423C3ECE3}" type="pres">
      <dgm:prSet presAssocID="{0873FD67-DF42-4071-8093-AA8D87908036}" presName="sibTrans" presStyleLbl="sibTrans2D1" presStyleIdx="1" presStyleCnt="2"/>
      <dgm:spPr/>
    </dgm:pt>
    <dgm:pt modelId="{07BAE52E-5F33-4888-B2D7-ABD54E37A9E3}" type="pres">
      <dgm:prSet presAssocID="{0873FD67-DF42-4071-8093-AA8D87908036}" presName="connTx" presStyleLbl="sibTrans2D1" presStyleIdx="1" presStyleCnt="2"/>
      <dgm:spPr/>
    </dgm:pt>
    <dgm:pt modelId="{4CE22E23-B5B0-415B-81EA-37AD9270CAC6}" type="pres">
      <dgm:prSet presAssocID="{1A1E0DF5-F648-489D-9D0E-DC6C2D82BE76}" presName="composite" presStyleCnt="0"/>
      <dgm:spPr/>
    </dgm:pt>
    <dgm:pt modelId="{E80AF060-F984-4FF2-ACDF-BE17ED5637A5}" type="pres">
      <dgm:prSet presAssocID="{1A1E0DF5-F648-489D-9D0E-DC6C2D82BE76}" presName="imagSh" presStyleLbl="bgImgPlace1" presStyleIdx="2" presStyleCnt="3" custLinFactNeighborY="-698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</dgm:pt>
    <dgm:pt modelId="{A247195E-A62B-431E-9C9D-F60CC53E966C}" type="pres">
      <dgm:prSet presAssocID="{1A1E0DF5-F648-489D-9D0E-DC6C2D82BE76}" presName="txNode" presStyleLbl="node1" presStyleIdx="2" presStyleCnt="3" custScaleX="154872">
        <dgm:presLayoutVars>
          <dgm:bulletEnabled val="1"/>
        </dgm:presLayoutVars>
      </dgm:prSet>
      <dgm:spPr/>
    </dgm:pt>
  </dgm:ptLst>
  <dgm:cxnLst>
    <dgm:cxn modelId="{DB910001-FB92-495A-8E6E-E9C9935522B6}" srcId="{5B74E064-F0BF-4ED6-83C8-30E6FF61A960}" destId="{B7EF0E84-9509-40AC-807B-E208C49001E3}" srcOrd="0" destOrd="0" parTransId="{5E9EBBAA-78E9-43CB-BD72-9F9FEA0AE186}" sibTransId="{1B3832A6-43C9-4AC3-BFC2-E8915360337A}"/>
    <dgm:cxn modelId="{3F916911-C2E7-44A2-85D0-E7D1225CD3C7}" srcId="{45C5B8B2-61B7-4AD7-9D4D-580677BE769B}" destId="{1CD3A32E-5E0C-433B-BC7A-89E84605E692}" srcOrd="0" destOrd="0" parTransId="{610C844B-8EE2-4F93-B828-83673087A46A}" sibTransId="{879F6E4D-0078-47B2-8290-0CBDA444B231}"/>
    <dgm:cxn modelId="{26C13523-8AAF-488F-883D-F4B3AA64843D}" srcId="{5B74E064-F0BF-4ED6-83C8-30E6FF61A960}" destId="{E670668C-24E9-469B-ADAB-5E72890DA511}" srcOrd="1" destOrd="0" parTransId="{4E95E74A-8FBA-430D-B8A2-F940191B37AC}" sibTransId="{71C8C31B-0617-4960-BB9C-93D6A7DAA9F4}"/>
    <dgm:cxn modelId="{05A6FE2E-F67A-4601-B739-197019755C49}" srcId="{1A1E0DF5-F648-489D-9D0E-DC6C2D82BE76}" destId="{639C0124-F413-44D9-8505-3174BAB7C8B4}" srcOrd="0" destOrd="0" parTransId="{4103218D-C2BE-41F1-B32E-F30E9C38A536}" sibTransId="{E31DB937-7ED9-4FB7-B202-DA582D40376D}"/>
    <dgm:cxn modelId="{29D0FE2F-4990-4ADA-BBAD-11B9EA9BA7AE}" srcId="{84369083-12F3-4AAA-B8F4-481EAF50157E}" destId="{1A1E0DF5-F648-489D-9D0E-DC6C2D82BE76}" srcOrd="2" destOrd="0" parTransId="{C4097788-BB0E-44EB-95A8-6F2BF7C483EE}" sibTransId="{9A1332A3-BB28-4DE0-BFF0-B2BE61F94EFF}"/>
    <dgm:cxn modelId="{76AC3F3F-3F60-4059-9A4D-744743B39902}" type="presOf" srcId="{45C5B8B2-61B7-4AD7-9D4D-580677BE769B}" destId="{131BA05F-C8AC-448A-8D88-D45E9F7FC43A}" srcOrd="0" destOrd="0" presId="urn:microsoft.com/office/officeart/2005/8/layout/hProcess10"/>
    <dgm:cxn modelId="{24DF0463-95D7-4370-B3ED-408BAFF40B88}" type="presOf" srcId="{84369083-12F3-4AAA-B8F4-481EAF50157E}" destId="{E4E8CAAF-485B-423A-A038-7B272D9ACDBE}" srcOrd="0" destOrd="0" presId="urn:microsoft.com/office/officeart/2005/8/layout/hProcess10"/>
    <dgm:cxn modelId="{C5E1E544-A67E-420F-973A-750118B1D379}" type="presOf" srcId="{0873FD67-DF42-4071-8093-AA8D87908036}" destId="{74C2ED45-E846-4325-ACFF-2EF423C3ECE3}" srcOrd="0" destOrd="0" presId="urn:microsoft.com/office/officeart/2005/8/layout/hProcess10"/>
    <dgm:cxn modelId="{71193B6A-2CB7-4043-87C0-C443E14D5977}" srcId="{84369083-12F3-4AAA-B8F4-481EAF50157E}" destId="{45C5B8B2-61B7-4AD7-9D4D-580677BE769B}" srcOrd="1" destOrd="0" parTransId="{887F28CA-4C38-4541-AF61-2BC73270F6B8}" sibTransId="{0873FD67-DF42-4071-8093-AA8D87908036}"/>
    <dgm:cxn modelId="{2DE4826B-D66B-4004-A75D-FAB55A4C49A7}" type="presOf" srcId="{2FF6083E-4D20-4A1D-9B72-F67E3329B706}" destId="{A247195E-A62B-431E-9C9D-F60CC53E966C}" srcOrd="0" destOrd="2" presId="urn:microsoft.com/office/officeart/2005/8/layout/hProcess10"/>
    <dgm:cxn modelId="{2FD19978-1927-489E-B96D-D76D80BA86B5}" type="presOf" srcId="{639C0124-F413-44D9-8505-3174BAB7C8B4}" destId="{A247195E-A62B-431E-9C9D-F60CC53E966C}" srcOrd="0" destOrd="1" presId="urn:microsoft.com/office/officeart/2005/8/layout/hProcess10"/>
    <dgm:cxn modelId="{C97A9379-4A90-47A9-816C-9DB3B39873F1}" srcId="{84369083-12F3-4AAA-B8F4-481EAF50157E}" destId="{5B74E064-F0BF-4ED6-83C8-30E6FF61A960}" srcOrd="0" destOrd="0" parTransId="{622BF50A-AB07-4C22-9179-5EAAA0006D04}" sibTransId="{5A8E4242-FC48-439B-B244-0186183B626E}"/>
    <dgm:cxn modelId="{BC8F7095-0421-40CB-88A1-EFE920D9EEA5}" type="presOf" srcId="{5A8E4242-FC48-439B-B244-0186183B626E}" destId="{214D6C45-73FC-4569-9E69-D3609DFDF913}" srcOrd="1" destOrd="0" presId="urn:microsoft.com/office/officeart/2005/8/layout/hProcess10"/>
    <dgm:cxn modelId="{F5FD0797-BDFA-4D7E-B7BA-B9E7225314F3}" type="presOf" srcId="{1A1E0DF5-F648-489D-9D0E-DC6C2D82BE76}" destId="{A247195E-A62B-431E-9C9D-F60CC53E966C}" srcOrd="0" destOrd="0" presId="urn:microsoft.com/office/officeart/2005/8/layout/hProcess10"/>
    <dgm:cxn modelId="{B53E3EAA-8D60-4790-93A9-7575158F7E46}" type="presOf" srcId="{1CD3A32E-5E0C-433B-BC7A-89E84605E692}" destId="{131BA05F-C8AC-448A-8D88-D45E9F7FC43A}" srcOrd="0" destOrd="1" presId="urn:microsoft.com/office/officeart/2005/8/layout/hProcess10"/>
    <dgm:cxn modelId="{30D50DAE-DED1-4E07-AA5B-7C13C19067C2}" type="presOf" srcId="{B7EF0E84-9509-40AC-807B-E208C49001E3}" destId="{04CFE7C8-2BAC-49F6-88D4-7EB348BA715B}" srcOrd="0" destOrd="1" presId="urn:microsoft.com/office/officeart/2005/8/layout/hProcess10"/>
    <dgm:cxn modelId="{29B28EB5-8594-4280-A83A-5741C480EA9A}" type="presOf" srcId="{0873FD67-DF42-4071-8093-AA8D87908036}" destId="{07BAE52E-5F33-4888-B2D7-ABD54E37A9E3}" srcOrd="1" destOrd="0" presId="urn:microsoft.com/office/officeart/2005/8/layout/hProcess10"/>
    <dgm:cxn modelId="{93804BBE-94D4-411B-8FA1-A8AC6191E6F8}" srcId="{1A1E0DF5-F648-489D-9D0E-DC6C2D82BE76}" destId="{2FF6083E-4D20-4A1D-9B72-F67E3329B706}" srcOrd="1" destOrd="0" parTransId="{742E0369-C188-4FB2-A8E7-CB7E824FF959}" sibTransId="{F793B38F-243D-469A-A3DC-2F837FDF5A52}"/>
    <dgm:cxn modelId="{B565B1C1-0630-49B7-B296-AD950FC203F6}" type="presOf" srcId="{10B443BC-D517-4CC9-BA62-26CA0D13F931}" destId="{131BA05F-C8AC-448A-8D88-D45E9F7FC43A}" srcOrd="0" destOrd="2" presId="urn:microsoft.com/office/officeart/2005/8/layout/hProcess10"/>
    <dgm:cxn modelId="{917A93DA-8C23-430A-ACDC-DB634511B8B9}" type="presOf" srcId="{E670668C-24E9-469B-ADAB-5E72890DA511}" destId="{04CFE7C8-2BAC-49F6-88D4-7EB348BA715B}" srcOrd="0" destOrd="2" presId="urn:microsoft.com/office/officeart/2005/8/layout/hProcess10"/>
    <dgm:cxn modelId="{1A008DE8-37EE-4148-969F-A9A388D58F2B}" type="presOf" srcId="{5B74E064-F0BF-4ED6-83C8-30E6FF61A960}" destId="{04CFE7C8-2BAC-49F6-88D4-7EB348BA715B}" srcOrd="0" destOrd="0" presId="urn:microsoft.com/office/officeart/2005/8/layout/hProcess10"/>
    <dgm:cxn modelId="{53EB98EF-EBA8-41AB-9D5D-26AB790F751A}" srcId="{45C5B8B2-61B7-4AD7-9D4D-580677BE769B}" destId="{10B443BC-D517-4CC9-BA62-26CA0D13F931}" srcOrd="1" destOrd="0" parTransId="{C1464FC4-FE8C-4459-9341-70F47BC78315}" sibTransId="{B448B89C-9039-44F6-8F31-5449D2159528}"/>
    <dgm:cxn modelId="{5471AFF9-076F-4BD7-9119-CA2A3EBFBED7}" type="presOf" srcId="{5A8E4242-FC48-439B-B244-0186183B626E}" destId="{3C4E4FD0-0FCF-4ECF-97C6-174CBB1B56B1}" srcOrd="0" destOrd="0" presId="urn:microsoft.com/office/officeart/2005/8/layout/hProcess10"/>
    <dgm:cxn modelId="{A573D4D6-02B5-431C-826D-E931D37408EB}" type="presParOf" srcId="{E4E8CAAF-485B-423A-A038-7B272D9ACDBE}" destId="{39ED0F72-BE62-4D5D-94BB-731E7F6112E7}" srcOrd="0" destOrd="0" presId="urn:microsoft.com/office/officeart/2005/8/layout/hProcess10"/>
    <dgm:cxn modelId="{E50FCDA6-0230-419A-9BAD-90AE7D2AE00D}" type="presParOf" srcId="{39ED0F72-BE62-4D5D-94BB-731E7F6112E7}" destId="{56A8603D-D98E-40EC-8BEF-60D551CB23BA}" srcOrd="0" destOrd="0" presId="urn:microsoft.com/office/officeart/2005/8/layout/hProcess10"/>
    <dgm:cxn modelId="{216FADA8-18CE-47FD-86C4-31189FC457E0}" type="presParOf" srcId="{39ED0F72-BE62-4D5D-94BB-731E7F6112E7}" destId="{04CFE7C8-2BAC-49F6-88D4-7EB348BA715B}" srcOrd="1" destOrd="0" presId="urn:microsoft.com/office/officeart/2005/8/layout/hProcess10"/>
    <dgm:cxn modelId="{F7D0C89D-05B1-4C0A-98CF-28C62C48C4FF}" type="presParOf" srcId="{E4E8CAAF-485B-423A-A038-7B272D9ACDBE}" destId="{3C4E4FD0-0FCF-4ECF-97C6-174CBB1B56B1}" srcOrd="1" destOrd="0" presId="urn:microsoft.com/office/officeart/2005/8/layout/hProcess10"/>
    <dgm:cxn modelId="{F0D8DFBD-41D9-4AF2-86EE-4E6F5972CF0C}" type="presParOf" srcId="{3C4E4FD0-0FCF-4ECF-97C6-174CBB1B56B1}" destId="{214D6C45-73FC-4569-9E69-D3609DFDF913}" srcOrd="0" destOrd="0" presId="urn:microsoft.com/office/officeart/2005/8/layout/hProcess10"/>
    <dgm:cxn modelId="{6E46ABDE-86A7-49C6-8963-ADBFEFFFD287}" type="presParOf" srcId="{E4E8CAAF-485B-423A-A038-7B272D9ACDBE}" destId="{E230F13C-C657-4984-BFFE-AA6BA7025FC1}" srcOrd="2" destOrd="0" presId="urn:microsoft.com/office/officeart/2005/8/layout/hProcess10"/>
    <dgm:cxn modelId="{F4474FA3-1A7D-4DCD-B61C-907BFFF5E932}" type="presParOf" srcId="{E230F13C-C657-4984-BFFE-AA6BA7025FC1}" destId="{DD982CCF-E1B2-4A54-8125-CFFADF0B7239}" srcOrd="0" destOrd="0" presId="urn:microsoft.com/office/officeart/2005/8/layout/hProcess10"/>
    <dgm:cxn modelId="{145AF0D2-6071-4AC1-A2A9-1FCC022923A5}" type="presParOf" srcId="{E230F13C-C657-4984-BFFE-AA6BA7025FC1}" destId="{131BA05F-C8AC-448A-8D88-D45E9F7FC43A}" srcOrd="1" destOrd="0" presId="urn:microsoft.com/office/officeart/2005/8/layout/hProcess10"/>
    <dgm:cxn modelId="{03C39991-E802-4DCE-9241-EF9FEE920617}" type="presParOf" srcId="{E4E8CAAF-485B-423A-A038-7B272D9ACDBE}" destId="{74C2ED45-E846-4325-ACFF-2EF423C3ECE3}" srcOrd="3" destOrd="0" presId="urn:microsoft.com/office/officeart/2005/8/layout/hProcess10"/>
    <dgm:cxn modelId="{8069AB95-F582-4133-9693-C16A87960C3F}" type="presParOf" srcId="{74C2ED45-E846-4325-ACFF-2EF423C3ECE3}" destId="{07BAE52E-5F33-4888-B2D7-ABD54E37A9E3}" srcOrd="0" destOrd="0" presId="urn:microsoft.com/office/officeart/2005/8/layout/hProcess10"/>
    <dgm:cxn modelId="{8455D65D-667A-4F44-A831-AD0F1FDEDCAB}" type="presParOf" srcId="{E4E8CAAF-485B-423A-A038-7B272D9ACDBE}" destId="{4CE22E23-B5B0-415B-81EA-37AD9270CAC6}" srcOrd="4" destOrd="0" presId="urn:microsoft.com/office/officeart/2005/8/layout/hProcess10"/>
    <dgm:cxn modelId="{77852C3B-5269-43B1-ABB6-1EFF773209AE}" type="presParOf" srcId="{4CE22E23-B5B0-415B-81EA-37AD9270CAC6}" destId="{E80AF060-F984-4FF2-ACDF-BE17ED5637A5}" srcOrd="0" destOrd="0" presId="urn:microsoft.com/office/officeart/2005/8/layout/hProcess10"/>
    <dgm:cxn modelId="{74B31AC5-609F-4549-896D-80435E8B669E}" type="presParOf" srcId="{4CE22E23-B5B0-415B-81EA-37AD9270CAC6}" destId="{A247195E-A62B-431E-9C9D-F60CC53E966C}" srcOrd="1" destOrd="0" presId="urn:microsoft.com/office/officeart/2005/8/layout/hProcess10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106328-DE78-4295-ACC6-016AECBF66C3}">
      <dsp:nvSpPr>
        <dsp:cNvPr id="0" name=""/>
        <dsp:cNvSpPr/>
      </dsp:nvSpPr>
      <dsp:spPr>
        <a:xfrm>
          <a:off x="4174" y="446160"/>
          <a:ext cx="2509970" cy="1003988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GB" sz="1800" b="1" kern="1200" dirty="0">
              <a:latin typeface="Calibri" panose="020F0502020204030204"/>
              <a:ea typeface="+mn-ea"/>
              <a:cs typeface="+mn-cs"/>
            </a:rPr>
            <a:t>1. Quality of the regulatory framework</a:t>
          </a:r>
          <a:endParaRPr lang="en-BE" sz="1800" b="1" kern="1200" dirty="0">
            <a:latin typeface="Calibri" panose="020F0502020204030204"/>
            <a:ea typeface="+mn-ea"/>
            <a:cs typeface="+mn-cs"/>
          </a:endParaRPr>
        </a:p>
      </dsp:txBody>
      <dsp:txXfrm>
        <a:off x="4174" y="446160"/>
        <a:ext cx="2509970" cy="1003988"/>
      </dsp:txXfrm>
    </dsp:sp>
    <dsp:sp modelId="{ABD1B06E-3DFD-4DFF-A277-5C0CEAF70A2C}">
      <dsp:nvSpPr>
        <dsp:cNvPr id="0" name=""/>
        <dsp:cNvSpPr/>
      </dsp:nvSpPr>
      <dsp:spPr>
        <a:xfrm>
          <a:off x="4174" y="1450149"/>
          <a:ext cx="2509970" cy="2854800"/>
        </a:xfrm>
        <a:prstGeom prst="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ctr" defTabSz="8001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GB" sz="1800" b="1" kern="1200" dirty="0">
              <a:latin typeface="Calibri" panose="020F0502020204030204"/>
              <a:ea typeface="+mn-ea"/>
              <a:cs typeface="+mn-cs"/>
            </a:rPr>
            <a:t>Coherent</a:t>
          </a:r>
          <a:endParaRPr lang="en-BE" sz="1800" b="1" kern="1200" dirty="0">
            <a:latin typeface="Calibri" panose="020F0502020204030204"/>
            <a:ea typeface="+mn-ea"/>
            <a:cs typeface="+mn-cs"/>
          </a:endParaRPr>
        </a:p>
        <a:p>
          <a:pPr marL="171450" lvl="1" indent="-171450" algn="ctr" defTabSz="8001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GB" sz="1800" b="1" kern="1200" dirty="0">
              <a:latin typeface="Calibri" panose="020F0502020204030204"/>
              <a:ea typeface="+mn-ea"/>
              <a:cs typeface="+mn-cs"/>
            </a:rPr>
            <a:t>Measurable</a:t>
          </a:r>
          <a:endParaRPr lang="en-BE" sz="1800" b="1" kern="1200" dirty="0">
            <a:latin typeface="Calibri" panose="020F0502020204030204"/>
            <a:ea typeface="+mn-ea"/>
            <a:cs typeface="+mn-cs"/>
          </a:endParaRPr>
        </a:p>
        <a:p>
          <a:pPr marL="171450" lvl="1" indent="-171450" algn="ctr" defTabSz="8001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GB" sz="1800" b="1" kern="1200" dirty="0">
              <a:latin typeface="Calibri" panose="020F0502020204030204"/>
              <a:ea typeface="+mn-ea"/>
              <a:cs typeface="+mn-cs"/>
            </a:rPr>
            <a:t>Enforceable</a:t>
          </a:r>
          <a:endParaRPr lang="en-BE" sz="1800" b="1" kern="1200" dirty="0">
            <a:latin typeface="Calibri" panose="020F0502020204030204"/>
            <a:ea typeface="+mn-ea"/>
            <a:cs typeface="+mn-cs"/>
          </a:endParaRPr>
        </a:p>
        <a:p>
          <a:pPr marL="171450" lvl="1" indent="-171450" algn="ctr" defTabSz="8001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GB" sz="1800" b="1" kern="1200" dirty="0">
              <a:latin typeface="Calibri" panose="020F0502020204030204"/>
              <a:ea typeface="+mn-ea"/>
              <a:cs typeface="+mn-cs"/>
            </a:rPr>
            <a:t>Predictable</a:t>
          </a:r>
          <a:endParaRPr lang="en-BE" sz="1800" b="1" kern="1200" dirty="0">
            <a:latin typeface="Calibri" panose="020F0502020204030204"/>
            <a:ea typeface="+mn-ea"/>
            <a:cs typeface="+mn-cs"/>
          </a:endParaRPr>
        </a:p>
        <a:p>
          <a:pPr marL="171450" lvl="1" indent="-171450" algn="ctr" defTabSz="8001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GB" sz="1800" b="1" kern="1200" dirty="0">
              <a:latin typeface="Calibri" panose="020F0502020204030204"/>
              <a:ea typeface="+mn-ea"/>
              <a:cs typeface="+mn-cs"/>
            </a:rPr>
            <a:t>SME friendly</a:t>
          </a:r>
          <a:endParaRPr lang="en-BE" sz="1600" b="1" kern="1200" dirty="0">
            <a:latin typeface="Calibri" panose="020F0502020204030204"/>
            <a:ea typeface="+mn-ea"/>
            <a:cs typeface="+mn-cs"/>
          </a:endParaRPr>
        </a:p>
      </dsp:txBody>
      <dsp:txXfrm>
        <a:off x="4174" y="1450149"/>
        <a:ext cx="2509970" cy="2854800"/>
      </dsp:txXfrm>
    </dsp:sp>
    <dsp:sp modelId="{57E13BE0-8640-4D58-B3EE-787934E69949}">
      <dsp:nvSpPr>
        <dsp:cNvPr id="0" name=""/>
        <dsp:cNvSpPr/>
      </dsp:nvSpPr>
      <dsp:spPr>
        <a:xfrm>
          <a:off x="2865541" y="446160"/>
          <a:ext cx="2509970" cy="1003988"/>
        </a:xfrm>
        <a:prstGeom prst="rect">
          <a:avLst/>
        </a:prstGeom>
        <a:gradFill rotWithShape="0">
          <a:gsLst>
            <a:gs pos="0">
              <a:schemeClr val="accent5">
                <a:hueOff val="-2252848"/>
                <a:satOff val="-5806"/>
                <a:lumOff val="-3922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2252848"/>
                <a:satOff val="-5806"/>
                <a:lumOff val="-3922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2252848"/>
                <a:satOff val="-5806"/>
                <a:lumOff val="-3922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5">
              <a:hueOff val="-2252848"/>
              <a:satOff val="-5806"/>
              <a:lumOff val="-3922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GB" sz="1800" b="1" kern="1200" dirty="0">
              <a:latin typeface="Calibri" panose="020F0502020204030204"/>
              <a:ea typeface="+mn-ea"/>
              <a:cs typeface="+mn-cs"/>
            </a:rPr>
            <a:t>2. EU Strategy has to become a Global Strategy…</a:t>
          </a:r>
        </a:p>
      </dsp:txBody>
      <dsp:txXfrm>
        <a:off x="2865541" y="446160"/>
        <a:ext cx="2509970" cy="1003988"/>
      </dsp:txXfrm>
    </dsp:sp>
    <dsp:sp modelId="{1ACD7C56-4D5B-43ED-9FDD-5EFA24A79904}">
      <dsp:nvSpPr>
        <dsp:cNvPr id="0" name=""/>
        <dsp:cNvSpPr/>
      </dsp:nvSpPr>
      <dsp:spPr>
        <a:xfrm>
          <a:off x="2865541" y="1450149"/>
          <a:ext cx="2509970" cy="2854800"/>
        </a:xfrm>
        <a:prstGeom prst="rect">
          <a:avLst/>
        </a:prstGeom>
        <a:solidFill>
          <a:schemeClr val="accent5">
            <a:tint val="40000"/>
            <a:alpha val="90000"/>
            <a:hueOff val="-2246587"/>
            <a:satOff val="-7611"/>
            <a:lumOff val="-976"/>
            <a:alphaOff val="0"/>
          </a:schemeClr>
        </a:solidFill>
        <a:ln w="6350" cap="flat" cmpd="sng" algn="ctr">
          <a:solidFill>
            <a:schemeClr val="accent5">
              <a:tint val="40000"/>
              <a:alpha val="90000"/>
              <a:hueOff val="-2246587"/>
              <a:satOff val="-7611"/>
              <a:lumOff val="-976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ctr" defTabSz="8001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GB" sz="1800" b="1" kern="1200" dirty="0">
              <a:latin typeface="Calibri" panose="020F0502020204030204"/>
              <a:ea typeface="+mn-ea"/>
              <a:cs typeface="+mn-cs"/>
            </a:rPr>
            <a:t>To ensure level playing field</a:t>
          </a:r>
        </a:p>
        <a:p>
          <a:pPr marL="171450" lvl="1" indent="-171450" algn="ctr" defTabSz="8001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GB" sz="1800" b="1" kern="1200" dirty="0">
              <a:latin typeface="Calibri" panose="020F0502020204030204"/>
              <a:ea typeface="+mn-ea"/>
              <a:cs typeface="+mn-cs"/>
            </a:rPr>
            <a:t>To establish global standards and definitions</a:t>
          </a:r>
        </a:p>
        <a:p>
          <a:pPr marL="171450" lvl="1" indent="-171450" algn="ctr" defTabSz="8001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GB" sz="1800" b="1" kern="1200" dirty="0">
              <a:latin typeface="Calibri" panose="020F0502020204030204"/>
              <a:ea typeface="+mn-ea"/>
              <a:cs typeface="+mn-cs"/>
            </a:rPr>
            <a:t>To make a significant impact on the planet</a:t>
          </a:r>
        </a:p>
      </dsp:txBody>
      <dsp:txXfrm>
        <a:off x="2865541" y="1450149"/>
        <a:ext cx="2509970" cy="2854800"/>
      </dsp:txXfrm>
    </dsp:sp>
    <dsp:sp modelId="{61E2EBC6-E501-4444-9934-B17DEE1238E2}">
      <dsp:nvSpPr>
        <dsp:cNvPr id="0" name=""/>
        <dsp:cNvSpPr/>
      </dsp:nvSpPr>
      <dsp:spPr>
        <a:xfrm>
          <a:off x="5726907" y="446160"/>
          <a:ext cx="2509970" cy="1003988"/>
        </a:xfrm>
        <a:prstGeom prst="rect">
          <a:avLst/>
        </a:prstGeom>
        <a:gradFill rotWithShape="0">
          <a:gsLst>
            <a:gs pos="0">
              <a:schemeClr val="accent5">
                <a:hueOff val="-4505695"/>
                <a:satOff val="-11613"/>
                <a:lumOff val="-784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4505695"/>
                <a:satOff val="-11613"/>
                <a:lumOff val="-784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4505695"/>
                <a:satOff val="-11613"/>
                <a:lumOff val="-784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5">
              <a:hueOff val="-4505695"/>
              <a:satOff val="-11613"/>
              <a:lumOff val="-7843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GB" sz="1800" b="1" kern="1200" dirty="0">
              <a:latin typeface="Calibri" panose="020F0502020204030204"/>
              <a:ea typeface="+mn-ea"/>
              <a:cs typeface="+mn-cs"/>
            </a:rPr>
            <a:t>3. Stimulate more demand for sustainable fashion</a:t>
          </a:r>
        </a:p>
      </dsp:txBody>
      <dsp:txXfrm>
        <a:off x="5726907" y="446160"/>
        <a:ext cx="2509970" cy="1003988"/>
      </dsp:txXfrm>
    </dsp:sp>
    <dsp:sp modelId="{17079683-D40F-432A-94F9-917E43643771}">
      <dsp:nvSpPr>
        <dsp:cNvPr id="0" name=""/>
        <dsp:cNvSpPr/>
      </dsp:nvSpPr>
      <dsp:spPr>
        <a:xfrm>
          <a:off x="5726907" y="1450149"/>
          <a:ext cx="2509970" cy="2854800"/>
        </a:xfrm>
        <a:prstGeom prst="rect">
          <a:avLst/>
        </a:prstGeom>
        <a:solidFill>
          <a:schemeClr val="accent5">
            <a:tint val="40000"/>
            <a:alpha val="90000"/>
            <a:hueOff val="-4493175"/>
            <a:satOff val="-15221"/>
            <a:lumOff val="-1952"/>
            <a:alphaOff val="0"/>
          </a:schemeClr>
        </a:solidFill>
        <a:ln w="6350" cap="flat" cmpd="sng" algn="ctr">
          <a:solidFill>
            <a:schemeClr val="accent5">
              <a:tint val="40000"/>
              <a:alpha val="90000"/>
              <a:hueOff val="-4493175"/>
              <a:satOff val="-15221"/>
              <a:lumOff val="-1952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ctr" defTabSz="8001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GB" sz="1800" b="1" kern="1200" dirty="0">
              <a:latin typeface="Calibri" panose="020F0502020204030204"/>
              <a:ea typeface="+mn-ea"/>
              <a:cs typeface="+mn-cs"/>
            </a:rPr>
            <a:t>Work on consumer behaviour</a:t>
          </a:r>
        </a:p>
        <a:p>
          <a:pPr marL="171450" lvl="1" indent="-171450" algn="ctr" defTabSz="8001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GB" sz="1800" b="1" kern="1200" dirty="0">
              <a:latin typeface="Calibri" panose="020F0502020204030204"/>
              <a:ea typeface="+mn-ea"/>
              <a:cs typeface="+mn-cs"/>
            </a:rPr>
            <a:t>Increase transparency (avoid greenwashing)</a:t>
          </a:r>
        </a:p>
        <a:p>
          <a:pPr marL="171450" lvl="1" indent="-171450" algn="ctr" defTabSz="8001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GB" sz="1800" b="1" kern="1200" dirty="0">
              <a:latin typeface="Calibri" panose="020F0502020204030204"/>
              <a:ea typeface="+mn-ea"/>
              <a:cs typeface="+mn-cs"/>
            </a:rPr>
            <a:t>Green public procurement</a:t>
          </a:r>
        </a:p>
      </dsp:txBody>
      <dsp:txXfrm>
        <a:off x="5726907" y="1450149"/>
        <a:ext cx="2509970" cy="2854800"/>
      </dsp:txXfrm>
    </dsp:sp>
    <dsp:sp modelId="{CFAD5A39-FFC6-4ECE-AFF4-981D67A6EA34}">
      <dsp:nvSpPr>
        <dsp:cNvPr id="0" name=""/>
        <dsp:cNvSpPr/>
      </dsp:nvSpPr>
      <dsp:spPr>
        <a:xfrm>
          <a:off x="8588274" y="446160"/>
          <a:ext cx="2509970" cy="1003988"/>
        </a:xfrm>
        <a:prstGeom prst="rect">
          <a:avLst/>
        </a:prstGeom>
        <a:gradFill rotWithShape="0">
          <a:gsLst>
            <a:gs pos="0">
              <a:schemeClr val="accent5">
                <a:hueOff val="-6758543"/>
                <a:satOff val="-17419"/>
                <a:lumOff val="-1176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6758543"/>
                <a:satOff val="-17419"/>
                <a:lumOff val="-1176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6758543"/>
                <a:satOff val="-17419"/>
                <a:lumOff val="-1176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5">
              <a:hueOff val="-6758543"/>
              <a:satOff val="-17419"/>
              <a:lumOff val="-11765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GB" sz="1800" b="1" kern="1200" dirty="0">
              <a:latin typeface="Calibri" panose="020F0502020204030204"/>
              <a:ea typeface="+mn-ea"/>
              <a:cs typeface="+mn-cs"/>
            </a:rPr>
            <a:t>4. </a:t>
          </a:r>
          <a:r>
            <a:rPr lang="en-GB" sz="1800" b="1" kern="1200" dirty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Support the industry transition</a:t>
          </a:r>
        </a:p>
      </dsp:txBody>
      <dsp:txXfrm>
        <a:off x="8588274" y="446160"/>
        <a:ext cx="2509970" cy="1003988"/>
      </dsp:txXfrm>
    </dsp:sp>
    <dsp:sp modelId="{58CD114D-7CE2-4323-8372-3B599F44DB04}">
      <dsp:nvSpPr>
        <dsp:cNvPr id="0" name=""/>
        <dsp:cNvSpPr/>
      </dsp:nvSpPr>
      <dsp:spPr>
        <a:xfrm>
          <a:off x="8588274" y="1450149"/>
          <a:ext cx="2509970" cy="2854800"/>
        </a:xfrm>
        <a:prstGeom prst="rect">
          <a:avLst/>
        </a:prstGeom>
        <a:solidFill>
          <a:schemeClr val="accent5">
            <a:tint val="40000"/>
            <a:alpha val="90000"/>
            <a:hueOff val="-6739762"/>
            <a:satOff val="-22832"/>
            <a:lumOff val="-2928"/>
            <a:alphaOff val="0"/>
          </a:schemeClr>
        </a:solidFill>
        <a:ln w="6350" cap="flat" cmpd="sng" algn="ctr">
          <a:solidFill>
            <a:schemeClr val="accent5">
              <a:tint val="40000"/>
              <a:alpha val="90000"/>
              <a:hueOff val="-6739762"/>
              <a:satOff val="-22832"/>
              <a:lumOff val="-2928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ctr" defTabSz="8001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GB" sz="1800" b="1" u="sng" kern="1200" dirty="0">
              <a:latin typeface="Calibri" panose="020F0502020204030204"/>
              <a:ea typeface="+mn-ea"/>
              <a:cs typeface="+mn-cs"/>
            </a:rPr>
            <a:t>Innovation and digitalisation</a:t>
          </a:r>
        </a:p>
        <a:p>
          <a:pPr marL="171450" lvl="1" indent="-171450" algn="ctr" defTabSz="8001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GB" sz="1800" b="1" kern="1200" dirty="0">
              <a:latin typeface="Calibri" panose="020F0502020204030204"/>
              <a:ea typeface="+mn-ea"/>
              <a:cs typeface="+mn-cs"/>
            </a:rPr>
            <a:t>Affordable energy</a:t>
          </a:r>
        </a:p>
        <a:p>
          <a:pPr marL="171450" lvl="1" indent="-171450" algn="ctr" defTabSz="8001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GB" sz="1800" b="1" kern="1200" dirty="0">
              <a:latin typeface="Calibri" panose="020F0502020204030204"/>
              <a:ea typeface="+mn-ea"/>
              <a:cs typeface="+mn-cs"/>
            </a:rPr>
            <a:t>Skills</a:t>
          </a:r>
        </a:p>
        <a:p>
          <a:pPr marL="171450" lvl="1" indent="-171450" algn="ctr" defTabSz="8001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n-GB" sz="1800" b="1" kern="1200" dirty="0">
              <a:latin typeface="Calibri" panose="020F0502020204030204"/>
              <a:ea typeface="+mn-ea"/>
              <a:cs typeface="+mn-cs"/>
            </a:rPr>
            <a:t>Capacity</a:t>
          </a:r>
          <a:endParaRPr lang="en-GB" sz="1600" b="1" kern="1200" dirty="0">
            <a:latin typeface="Calibri" panose="020F0502020204030204"/>
            <a:ea typeface="+mn-ea"/>
            <a:cs typeface="+mn-cs"/>
          </a:endParaRPr>
        </a:p>
      </dsp:txBody>
      <dsp:txXfrm>
        <a:off x="8588274" y="1450149"/>
        <a:ext cx="2509970" cy="28548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A8603D-D98E-40EC-8BEF-60D551CB23BA}">
      <dsp:nvSpPr>
        <dsp:cNvPr id="0" name=""/>
        <dsp:cNvSpPr/>
      </dsp:nvSpPr>
      <dsp:spPr>
        <a:xfrm>
          <a:off x="215674" y="1263821"/>
          <a:ext cx="1618496" cy="161849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3000" r="-2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4CFE7C8-2BAC-49F6-88D4-7EB348BA715B}">
      <dsp:nvSpPr>
        <dsp:cNvPr id="0" name=""/>
        <dsp:cNvSpPr/>
      </dsp:nvSpPr>
      <dsp:spPr>
        <a:xfrm>
          <a:off x="698" y="2385634"/>
          <a:ext cx="2575400" cy="161849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>
              <a:solidFill>
                <a:srgbClr val="FF0000"/>
              </a:solidFill>
            </a:rPr>
            <a:t>June</a:t>
          </a:r>
          <a:endParaRPr lang="en-BE" sz="2100" kern="1200" dirty="0">
            <a:solidFill>
              <a:srgbClr val="FF0000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704 MEPs</a:t>
          </a:r>
          <a:endParaRPr lang="en-B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Political Groups</a:t>
          </a:r>
          <a:endParaRPr lang="en-BE" sz="1600" kern="1200" dirty="0"/>
        </a:p>
      </dsp:txBody>
      <dsp:txXfrm>
        <a:off x="48102" y="2433038"/>
        <a:ext cx="2480592" cy="1523688"/>
      </dsp:txXfrm>
    </dsp:sp>
    <dsp:sp modelId="{3C4E4FD0-0FCF-4ECF-97C6-174CBB1B56B1}">
      <dsp:nvSpPr>
        <dsp:cNvPr id="0" name=""/>
        <dsp:cNvSpPr/>
      </dsp:nvSpPr>
      <dsp:spPr>
        <a:xfrm rot="21569604">
          <a:off x="2390127" y="1864089"/>
          <a:ext cx="555989" cy="3889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BE" sz="1600" kern="1200"/>
        </a:p>
      </dsp:txBody>
      <dsp:txXfrm>
        <a:off x="2390129" y="1942385"/>
        <a:ext cx="439318" cy="233342"/>
      </dsp:txXfrm>
    </dsp:sp>
    <dsp:sp modelId="{DD982CCF-E1B2-4A54-8125-CFFADF0B7239}">
      <dsp:nvSpPr>
        <dsp:cNvPr id="0" name=""/>
        <dsp:cNvSpPr/>
      </dsp:nvSpPr>
      <dsp:spPr>
        <a:xfrm>
          <a:off x="3422649" y="1235465"/>
          <a:ext cx="1618496" cy="161849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/>
          <a:srcRect/>
          <a:stretch>
            <a:fillRect l="-22000" r="-22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31BA05F-C8AC-448A-8D88-D45E9F7FC43A}">
      <dsp:nvSpPr>
        <dsp:cNvPr id="0" name=""/>
        <dsp:cNvSpPr/>
      </dsp:nvSpPr>
      <dsp:spPr>
        <a:xfrm>
          <a:off x="3203360" y="2385634"/>
          <a:ext cx="2584027" cy="161849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>
              <a:solidFill>
                <a:srgbClr val="FF0000"/>
              </a:solidFill>
            </a:rPr>
            <a:t>July onwards</a:t>
          </a:r>
          <a:endParaRPr lang="en-BE" sz="2100" kern="1200" dirty="0">
            <a:solidFill>
              <a:srgbClr val="FF0000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President of the EC</a:t>
          </a:r>
          <a:endParaRPr lang="en-B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27 Commissioners</a:t>
          </a:r>
          <a:endParaRPr lang="en-BE" sz="1600" kern="1200" dirty="0"/>
        </a:p>
      </dsp:txBody>
      <dsp:txXfrm>
        <a:off x="3250764" y="2433038"/>
        <a:ext cx="2489219" cy="1523688"/>
      </dsp:txXfrm>
    </dsp:sp>
    <dsp:sp modelId="{74C2ED45-E846-4325-ACFF-2EF423C3ECE3}">
      <dsp:nvSpPr>
        <dsp:cNvPr id="0" name=""/>
        <dsp:cNvSpPr/>
      </dsp:nvSpPr>
      <dsp:spPr>
        <a:xfrm rot="71544">
          <a:off x="5585014" y="1884088"/>
          <a:ext cx="544044" cy="3889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BE" sz="1600" kern="1200"/>
        </a:p>
      </dsp:txBody>
      <dsp:txXfrm>
        <a:off x="5585027" y="1960654"/>
        <a:ext cx="427373" cy="233342"/>
      </dsp:txXfrm>
    </dsp:sp>
    <dsp:sp modelId="{E80AF060-F984-4FF2-ACDF-BE17ED5637A5}">
      <dsp:nvSpPr>
        <dsp:cNvPr id="0" name=""/>
        <dsp:cNvSpPr/>
      </dsp:nvSpPr>
      <dsp:spPr>
        <a:xfrm>
          <a:off x="6595223" y="1301500"/>
          <a:ext cx="1618496" cy="161849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47195E-A62B-431E-9C9D-F60CC53E966C}">
      <dsp:nvSpPr>
        <dsp:cNvPr id="0" name=""/>
        <dsp:cNvSpPr/>
      </dsp:nvSpPr>
      <dsp:spPr>
        <a:xfrm>
          <a:off x="6414649" y="2385634"/>
          <a:ext cx="2506598" cy="161849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rgbClr val="FF0000"/>
              </a:solidFill>
            </a:rPr>
            <a:t>2025-2030</a:t>
          </a:r>
          <a:endParaRPr lang="en-BE" sz="2000" kern="1200" dirty="0">
            <a:solidFill>
              <a:srgbClr val="FF0000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Annual budget €180 </a:t>
          </a:r>
          <a:r>
            <a:rPr lang="en-GB" sz="1600" kern="1200" dirty="0" err="1"/>
            <a:t>bln</a:t>
          </a:r>
          <a:endParaRPr lang="en-B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Political &amp; economic priorities</a:t>
          </a:r>
          <a:endParaRPr lang="en-BE" sz="1600" kern="1200" dirty="0"/>
        </a:p>
      </dsp:txBody>
      <dsp:txXfrm>
        <a:off x="6462053" y="2433038"/>
        <a:ext cx="2411790" cy="15236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10">
  <dgm:title val=""/>
  <dgm:desc val=""/>
  <dgm:catLst>
    <dgm:cat type="process" pri="3000"/>
    <dgm:cat type="picture" pri="30000"/>
    <dgm:cat type="pictureconvert" pri="3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op="equ" fact="0.3333"/>
      <dgm:constr type="primFontSz" for="des" forName="txNode" op="equ" val="65"/>
      <dgm:constr type="primFontSz" for="des" forName="connTx" op="equ" val="55"/>
      <dgm:constr type="primFontSz" for="des" forName="connTx" refType="primFontSz" refFor="des" refForName="txNode" op="lte" fact="0.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imagSh"/>
              <dgm:constr type="w" for="ch" forName="imagSh" refType="w" fact="0.86"/>
              <dgm:constr type="t" for="ch" forName="imagSh"/>
              <dgm:constr type="h" for="ch" forName="imagSh" refType="w" refFor="ch" refForName="imagSh"/>
              <dgm:constr type="l" for="ch" forName="txNode" refType="w" fact="0.14"/>
              <dgm:constr type="w" for="ch" forName="txNode" refType="w" refFor="ch" refForName="imagSh"/>
              <dgm:constr type="t" for="ch" forName="txNode" refType="h" refFor="ch" refForName="imagSh" fact="0.6"/>
              <dgm:constr type="h" for="ch" forName="txNode" refType="h" refFor="ch" refForName="imagSh"/>
            </dgm:constrLst>
          </dgm:if>
          <dgm:else name="Name7">
            <dgm:constrLst>
              <dgm:constr type="l" for="ch" forName="imagSh" refType="w" fact="0.14"/>
              <dgm:constr type="w" for="ch" forName="imagSh" refType="w" fact="0.86"/>
              <dgm:constr type="t" for="ch" forName="imagSh"/>
              <dgm:constr type="h" for="ch" forName="imagSh" refType="w" refFor="ch" refForName="imagSh"/>
              <dgm:constr type="l" for="ch" forName="txNode"/>
              <dgm:constr type="w" for="ch" forName="txNode" refType="w" refFor="ch" refForName="imagSh"/>
              <dgm:constr type="t" for="ch" forName="txNode" refType="h" refFor="ch" refForName="imagSh" fact="0.6"/>
              <dgm:constr type="h" for="ch" forName="txNode" refType="h" refFor="ch" refForName="imagSh"/>
            </dgm:constrLst>
          </dgm:else>
        </dgm:choose>
        <dgm:ruleLst/>
        <dgm:layoutNode name="imagSh" styleLbl="b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x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imagSh"/>
            <dgm:param type="dstNode" val="imagSh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35"/>
            <dgm:constr type="endPad" refType="connDist" fact="0.3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7042</cdr:x>
      <cdr:y>0.33175</cdr:y>
    </cdr:from>
    <cdr:to>
      <cdr:x>0.96985</cdr:x>
      <cdr:y>0.41074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C7987AB-F359-F149-69AD-1033EDB5561B}"/>
            </a:ext>
          </a:extLst>
        </cdr:cNvPr>
        <cdr:cNvSpPr txBox="1"/>
      </cdr:nvSpPr>
      <cdr:spPr>
        <a:xfrm xmlns:a="http://schemas.openxmlformats.org/drawingml/2006/main">
          <a:off x="9300756" y="1828800"/>
          <a:ext cx="1062445" cy="43542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fr-BE" sz="2000" dirty="0"/>
            <a:t>€ 1,1 </a:t>
          </a:r>
          <a:r>
            <a:rPr lang="fr-BE" sz="2000" dirty="0" err="1"/>
            <a:t>bln</a:t>
          </a:r>
          <a:endParaRPr lang="fr-BE" sz="2000" dirty="0"/>
        </a:p>
      </cdr:txBody>
    </cdr:sp>
  </cdr:relSizeAnchor>
  <cdr:relSizeAnchor xmlns:cdr="http://schemas.openxmlformats.org/drawingml/2006/chartDrawing">
    <cdr:from>
      <cdr:x>0.88495</cdr:x>
      <cdr:y>0.66324</cdr:y>
    </cdr:from>
    <cdr:to>
      <cdr:x>0.98438</cdr:x>
      <cdr:y>0.74223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1B8CE9FC-6D9A-0C1E-083A-570B0117A91E}"/>
            </a:ext>
          </a:extLst>
        </cdr:cNvPr>
        <cdr:cNvSpPr txBox="1"/>
      </cdr:nvSpPr>
      <cdr:spPr>
        <a:xfrm xmlns:a="http://schemas.openxmlformats.org/drawingml/2006/main">
          <a:off x="9456059" y="3656148"/>
          <a:ext cx="1062445" cy="43542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BE" sz="2000" dirty="0"/>
            <a:t>€ 175 mln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342129" cy="345604"/>
          </a:xfrm>
          <a:prstGeom prst="rect">
            <a:avLst/>
          </a:prstGeom>
        </p:spPr>
        <p:txBody>
          <a:bodyPr vert="horz" lIns="92281" tIns="46140" rIns="92281" bIns="46140" rtlCol="0"/>
          <a:lstStyle>
            <a:lvl1pPr algn="l">
              <a:defRPr sz="1200"/>
            </a:lvl1pPr>
          </a:lstStyle>
          <a:p>
            <a:endParaRPr lang="en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75854" y="1"/>
            <a:ext cx="4342129" cy="345604"/>
          </a:xfrm>
          <a:prstGeom prst="rect">
            <a:avLst/>
          </a:prstGeom>
        </p:spPr>
        <p:txBody>
          <a:bodyPr vert="horz" lIns="92281" tIns="46140" rIns="92281" bIns="46140" rtlCol="0"/>
          <a:lstStyle>
            <a:lvl1pPr algn="r">
              <a:defRPr sz="1200"/>
            </a:lvl1pPr>
          </a:lstStyle>
          <a:p>
            <a:fld id="{2DB185E2-E421-491B-88B5-4021113198EB}" type="datetimeFigureOut">
              <a:rPr lang="en-BE" smtClean="0"/>
              <a:t>06/10/2024</a:t>
            </a:fld>
            <a:endParaRPr lang="en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44813" y="860425"/>
            <a:ext cx="4130675" cy="2324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81" tIns="46140" rIns="92281" bIns="46140" rtlCol="0" anchor="ctr"/>
          <a:lstStyle/>
          <a:p>
            <a:endParaRPr lang="en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02031" y="3314929"/>
            <a:ext cx="8016239" cy="2712215"/>
          </a:xfrm>
          <a:prstGeom prst="rect">
            <a:avLst/>
          </a:prstGeom>
        </p:spPr>
        <p:txBody>
          <a:bodyPr vert="horz" lIns="92281" tIns="46140" rIns="92281" bIns="4614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542561"/>
            <a:ext cx="4342129" cy="345602"/>
          </a:xfrm>
          <a:prstGeom prst="rect">
            <a:avLst/>
          </a:prstGeom>
        </p:spPr>
        <p:txBody>
          <a:bodyPr vert="horz" lIns="92281" tIns="46140" rIns="92281" bIns="46140" rtlCol="0" anchor="b"/>
          <a:lstStyle>
            <a:lvl1pPr algn="l">
              <a:defRPr sz="1200"/>
            </a:lvl1pPr>
          </a:lstStyle>
          <a:p>
            <a:endParaRPr lang="en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75854" y="6542561"/>
            <a:ext cx="4342129" cy="345602"/>
          </a:xfrm>
          <a:prstGeom prst="rect">
            <a:avLst/>
          </a:prstGeom>
        </p:spPr>
        <p:txBody>
          <a:bodyPr vert="horz" lIns="92281" tIns="46140" rIns="92281" bIns="46140" rtlCol="0" anchor="b"/>
          <a:lstStyle>
            <a:lvl1pPr algn="r">
              <a:defRPr sz="1200"/>
            </a:lvl1pPr>
          </a:lstStyle>
          <a:p>
            <a:fld id="{004A5946-5DF5-4EAA-ABB5-D72444A68EA8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2679771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4A5946-5DF5-4EAA-ABB5-D72444A68EA8}" type="slidenum">
              <a:rPr lang="en-BE" smtClean="0"/>
              <a:t>3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7432852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4A5946-5DF5-4EAA-ABB5-D72444A68EA8}" type="slidenum">
              <a:rPr lang="en-BE" smtClean="0"/>
              <a:t>4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6594245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84D93B-4387-DDB8-29C7-A4CC66152A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41257E-527C-05EF-09E4-C2FCF94565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27D944-1340-ACB4-0DE1-38FFBF5F39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urce: </a:t>
            </a:r>
            <a:r>
              <a:rPr lang="en-GB" dirty="0" err="1"/>
              <a:t>Euratex</a:t>
            </a:r>
            <a:r>
              <a:rPr lang="en-GB" dirty="0"/>
              <a:t> Spring report 2022</a:t>
            </a:r>
            <a:endParaRPr lang="en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B9E1C9-923E-83EE-6AE6-FB27A49AC9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9A0255-5044-4477-8F6F-8425E68FF2E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3456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F332BA-7156-45AA-886C-CF28B439A6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F85443-0DF5-3847-49D5-6D8E0F3C8B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4D5997-FB83-0BD6-68BC-FAE8B5DA97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urce: </a:t>
            </a:r>
            <a:r>
              <a:rPr lang="en-GB" dirty="0" err="1"/>
              <a:t>Euratex</a:t>
            </a:r>
            <a:r>
              <a:rPr lang="en-GB" dirty="0"/>
              <a:t> Spring report 2022</a:t>
            </a:r>
            <a:endParaRPr lang="en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F20400-B5FF-7C75-2E3D-938835C087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9A0255-5044-4477-8F6F-8425E68FF2E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80552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9C9-D2AF-4011-8F5D-21C56D952455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44082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4A5946-5DF5-4EAA-ABB5-D72444A68EA8}" type="slidenum">
              <a:rPr lang="en-BE" smtClean="0"/>
              <a:t>13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9280430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9912">
              <a:defRPr/>
            </a:pPr>
            <a:fld id="{2500C6B4-0464-4CBB-905C-624E8A988342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39912">
                <a:defRPr/>
              </a:pPr>
              <a:t>18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064370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oleObject" Target="../embeddings/oleObject1.bin"/><Relationship Id="rId5" Type="http://schemas.openxmlformats.org/officeDocument/2006/relationships/tags" Target="../tags/tag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0.xml"/><Relationship Id="rId7" Type="http://schemas.openxmlformats.org/officeDocument/2006/relationships/oleObject" Target="../embeddings/oleObject3.bin"/><Relationship Id="rId2" Type="http://schemas.openxmlformats.org/officeDocument/2006/relationships/tags" Target="../tags/tag29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8.jpeg"/><Relationship Id="rId5" Type="http://schemas.openxmlformats.org/officeDocument/2006/relationships/tags" Target="../tags/tag32.xml"/><Relationship Id="rId10" Type="http://schemas.microsoft.com/office/2007/relationships/hdphoto" Target="../media/hdphoto2.wdp"/><Relationship Id="rId4" Type="http://schemas.openxmlformats.org/officeDocument/2006/relationships/tags" Target="../tags/tag31.xml"/><Relationship Id="rId9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4.xml"/><Relationship Id="rId7" Type="http://schemas.openxmlformats.org/officeDocument/2006/relationships/oleObject" Target="../embeddings/oleObject4.bin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9.jpeg"/><Relationship Id="rId5" Type="http://schemas.openxmlformats.org/officeDocument/2006/relationships/tags" Target="../tags/tag36.xml"/><Relationship Id="rId10" Type="http://schemas.microsoft.com/office/2007/relationships/hdphoto" Target="../media/hdphoto2.wdp"/><Relationship Id="rId4" Type="http://schemas.openxmlformats.org/officeDocument/2006/relationships/tags" Target="../tags/tag35.xml"/><Relationship Id="rId9" Type="http://schemas.openxmlformats.org/officeDocument/2006/relationships/image" Target="../media/image7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8.xml"/><Relationship Id="rId7" Type="http://schemas.openxmlformats.org/officeDocument/2006/relationships/oleObject" Target="../embeddings/oleObject5.bin"/><Relationship Id="rId2" Type="http://schemas.openxmlformats.org/officeDocument/2006/relationships/tags" Target="../tags/tag37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3.xml"/><Relationship Id="rId11" Type="http://schemas.microsoft.com/office/2007/relationships/hdphoto" Target="../media/hdphoto2.wdp"/><Relationship Id="rId5" Type="http://schemas.openxmlformats.org/officeDocument/2006/relationships/tags" Target="../tags/tag40.xml"/><Relationship Id="rId10" Type="http://schemas.openxmlformats.org/officeDocument/2006/relationships/image" Target="../media/image7.png"/><Relationship Id="rId4" Type="http://schemas.openxmlformats.org/officeDocument/2006/relationships/tags" Target="../tags/tag39.xml"/><Relationship Id="rId9" Type="http://schemas.openxmlformats.org/officeDocument/2006/relationships/image" Target="../media/image10.jpe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42.xml"/><Relationship Id="rId7" Type="http://schemas.openxmlformats.org/officeDocument/2006/relationships/oleObject" Target="../embeddings/oleObject6.bin"/><Relationship Id="rId2" Type="http://schemas.openxmlformats.org/officeDocument/2006/relationships/tags" Target="../tags/tag41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3.xml"/><Relationship Id="rId11" Type="http://schemas.microsoft.com/office/2007/relationships/hdphoto" Target="../media/hdphoto2.wdp"/><Relationship Id="rId5" Type="http://schemas.openxmlformats.org/officeDocument/2006/relationships/tags" Target="../tags/tag44.xml"/><Relationship Id="rId10" Type="http://schemas.openxmlformats.org/officeDocument/2006/relationships/image" Target="../media/image7.png"/><Relationship Id="rId4" Type="http://schemas.openxmlformats.org/officeDocument/2006/relationships/tags" Target="../tags/tag43.xml"/><Relationship Id="rId9" Type="http://schemas.openxmlformats.org/officeDocument/2006/relationships/image" Target="../media/image11.jp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7.vml"/><Relationship Id="rId6" Type="http://schemas.openxmlformats.org/officeDocument/2006/relationships/tags" Target="../tags/tag49.xml"/><Relationship Id="rId11" Type="http://schemas.openxmlformats.org/officeDocument/2006/relationships/image" Target="../media/image12.emf"/><Relationship Id="rId5" Type="http://schemas.openxmlformats.org/officeDocument/2006/relationships/tags" Target="../tags/tag48.xml"/><Relationship Id="rId10" Type="http://schemas.openxmlformats.org/officeDocument/2006/relationships/oleObject" Target="../embeddings/oleObject7.bin"/><Relationship Id="rId4" Type="http://schemas.openxmlformats.org/officeDocument/2006/relationships/tags" Target="../tags/tag47.xml"/><Relationship Id="rId9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8.vml"/><Relationship Id="rId6" Type="http://schemas.openxmlformats.org/officeDocument/2006/relationships/tags" Target="../tags/tag56.xml"/><Relationship Id="rId11" Type="http://schemas.openxmlformats.org/officeDocument/2006/relationships/image" Target="../media/image12.emf"/><Relationship Id="rId5" Type="http://schemas.openxmlformats.org/officeDocument/2006/relationships/tags" Target="../tags/tag55.xml"/><Relationship Id="rId10" Type="http://schemas.openxmlformats.org/officeDocument/2006/relationships/oleObject" Target="../embeddings/oleObject8.bin"/><Relationship Id="rId4" Type="http://schemas.openxmlformats.org/officeDocument/2006/relationships/tags" Target="../tags/tag54.xml"/><Relationship Id="rId9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9.vml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10" Type="http://schemas.openxmlformats.org/officeDocument/2006/relationships/image" Target="../media/image5.emf"/><Relationship Id="rId4" Type="http://schemas.openxmlformats.org/officeDocument/2006/relationships/tags" Target="../tags/tag61.xml"/><Relationship Id="rId9" Type="http://schemas.openxmlformats.org/officeDocument/2006/relationships/oleObject" Target="../embeddings/oleObject9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9.xml"/><Relationship Id="rId5" Type="http://schemas.openxmlformats.org/officeDocument/2006/relationships/tags" Target="../tags/tag68.xml"/><Relationship Id="rId10" Type="http://schemas.openxmlformats.org/officeDocument/2006/relationships/image" Target="../media/image5.emf"/><Relationship Id="rId4" Type="http://schemas.openxmlformats.org/officeDocument/2006/relationships/tags" Target="../tags/tag67.xml"/><Relationship Id="rId9" Type="http://schemas.openxmlformats.org/officeDocument/2006/relationships/oleObject" Target="../embeddings/oleObject10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2" Type="http://schemas.openxmlformats.org/officeDocument/2006/relationships/tags" Target="../tags/tag7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5.xml"/><Relationship Id="rId5" Type="http://schemas.openxmlformats.org/officeDocument/2006/relationships/tags" Target="../tags/tag74.xml"/><Relationship Id="rId10" Type="http://schemas.openxmlformats.org/officeDocument/2006/relationships/image" Target="../media/image5.emf"/><Relationship Id="rId4" Type="http://schemas.openxmlformats.org/officeDocument/2006/relationships/tags" Target="../tags/tag73.xml"/><Relationship Id="rId9" Type="http://schemas.openxmlformats.org/officeDocument/2006/relationships/oleObject" Target="../embeddings/oleObject11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12.vml"/><Relationship Id="rId6" Type="http://schemas.openxmlformats.org/officeDocument/2006/relationships/tags" Target="../tags/tag81.xml"/><Relationship Id="rId11" Type="http://schemas.openxmlformats.org/officeDocument/2006/relationships/image" Target="../media/image5.emf"/><Relationship Id="rId5" Type="http://schemas.openxmlformats.org/officeDocument/2006/relationships/tags" Target="../tags/tag80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79.xml"/><Relationship Id="rId9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image" Target="../media/image6.png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12.emf"/><Relationship Id="rId2" Type="http://schemas.openxmlformats.org/officeDocument/2006/relationships/tags" Target="../tags/tag84.xml"/><Relationship Id="rId1" Type="http://schemas.openxmlformats.org/officeDocument/2006/relationships/vmlDrawing" Target="../drawings/vmlDrawing13.vml"/><Relationship Id="rId6" Type="http://schemas.openxmlformats.org/officeDocument/2006/relationships/tags" Target="../tags/tag88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8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microsoft.com/office/2007/relationships/hdphoto" Target="../media/hdphoto1.wdp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13" Type="http://schemas.openxmlformats.org/officeDocument/2006/relationships/image" Target="../media/image6.png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12" Type="http://schemas.openxmlformats.org/officeDocument/2006/relationships/image" Target="../media/image12.emf"/><Relationship Id="rId2" Type="http://schemas.openxmlformats.org/officeDocument/2006/relationships/tags" Target="../tags/tag92.xml"/><Relationship Id="rId1" Type="http://schemas.openxmlformats.org/officeDocument/2006/relationships/vmlDrawing" Target="../drawings/vmlDrawing14.vml"/><Relationship Id="rId6" Type="http://schemas.openxmlformats.org/officeDocument/2006/relationships/tags" Target="../tags/tag96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95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4" Type="http://schemas.microsoft.com/office/2007/relationships/hdphoto" Target="../media/hdphoto1.wdp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image" Target="../media/image6.png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12" Type="http://schemas.openxmlformats.org/officeDocument/2006/relationships/image" Target="../media/image5.emf"/><Relationship Id="rId2" Type="http://schemas.openxmlformats.org/officeDocument/2006/relationships/tags" Target="../tags/tag100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04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103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microsoft.com/office/2007/relationships/hdphoto" Target="../media/hdphoto1.wdp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13" Type="http://schemas.openxmlformats.org/officeDocument/2006/relationships/image" Target="../media/image6.png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12" Type="http://schemas.openxmlformats.org/officeDocument/2006/relationships/image" Target="../media/image12.emf"/><Relationship Id="rId2" Type="http://schemas.openxmlformats.org/officeDocument/2006/relationships/tags" Target="../tags/tag108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12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11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10.xml"/><Relationship Id="rId9" Type="http://schemas.openxmlformats.org/officeDocument/2006/relationships/tags" Target="../tags/tag115.xml"/><Relationship Id="rId14" Type="http://schemas.microsoft.com/office/2007/relationships/hdphoto" Target="../media/hdphoto1.wdp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image" Target="../media/image6.png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image" Target="../media/image5.emf"/><Relationship Id="rId2" Type="http://schemas.openxmlformats.org/officeDocument/2006/relationships/tags" Target="../tags/tag116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20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19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microsoft.com/office/2007/relationships/hdphoto" Target="../media/hdphoto1.wdp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13" Type="http://schemas.openxmlformats.org/officeDocument/2006/relationships/image" Target="../media/image13.png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image" Target="../media/image5.emf"/><Relationship Id="rId2" Type="http://schemas.openxmlformats.org/officeDocument/2006/relationships/tags" Target="../tags/tag124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28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2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26.xml"/><Relationship Id="rId9" Type="http://schemas.openxmlformats.org/officeDocument/2006/relationships/tags" Target="../tags/tag13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138.xml"/><Relationship Id="rId13" Type="http://schemas.openxmlformats.org/officeDocument/2006/relationships/image" Target="../media/image13.png"/><Relationship Id="rId3" Type="http://schemas.openxmlformats.org/officeDocument/2006/relationships/tags" Target="../tags/tag133.xml"/><Relationship Id="rId7" Type="http://schemas.openxmlformats.org/officeDocument/2006/relationships/tags" Target="../tags/tag137.xml"/><Relationship Id="rId12" Type="http://schemas.openxmlformats.org/officeDocument/2006/relationships/image" Target="../media/image12.emf"/><Relationship Id="rId2" Type="http://schemas.openxmlformats.org/officeDocument/2006/relationships/tags" Target="../tags/tag132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36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135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34.xml"/><Relationship Id="rId9" Type="http://schemas.openxmlformats.org/officeDocument/2006/relationships/tags" Target="../tags/tag139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image" Target="../media/image13.png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image" Target="../media/image5.emf"/><Relationship Id="rId2" Type="http://schemas.openxmlformats.org/officeDocument/2006/relationships/tags" Target="../tags/tag140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44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143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42.xml"/><Relationship Id="rId9" Type="http://schemas.openxmlformats.org/officeDocument/2006/relationships/tags" Target="../tags/tag147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microsoft.com/office/2007/relationships/hdphoto" Target="../media/hdphoto1.wdp"/><Relationship Id="rId2" Type="http://schemas.openxmlformats.org/officeDocument/2006/relationships/tags" Target="../tags/tag148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52.xml"/><Relationship Id="rId11" Type="http://schemas.openxmlformats.org/officeDocument/2006/relationships/image" Target="../media/image6.png"/><Relationship Id="rId5" Type="http://schemas.openxmlformats.org/officeDocument/2006/relationships/tags" Target="../tags/tag151.xml"/><Relationship Id="rId10" Type="http://schemas.openxmlformats.org/officeDocument/2006/relationships/image" Target="../media/image5.emf"/><Relationship Id="rId4" Type="http://schemas.openxmlformats.org/officeDocument/2006/relationships/tags" Target="../tags/tag150.xml"/><Relationship Id="rId9" Type="http://schemas.openxmlformats.org/officeDocument/2006/relationships/oleObject" Target="../embeddings/oleObject21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55.xml"/><Relationship Id="rId7" Type="http://schemas.openxmlformats.org/officeDocument/2006/relationships/oleObject" Target="../embeddings/oleObject22.bin"/><Relationship Id="rId2" Type="http://schemas.openxmlformats.org/officeDocument/2006/relationships/tags" Target="../tags/tag154.xml"/><Relationship Id="rId1" Type="http://schemas.openxmlformats.org/officeDocument/2006/relationships/vmlDrawing" Target="../drawings/vmlDrawing22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57.xml"/><Relationship Id="rId10" Type="http://schemas.microsoft.com/office/2007/relationships/hdphoto" Target="../media/hdphoto1.wdp"/><Relationship Id="rId4" Type="http://schemas.openxmlformats.org/officeDocument/2006/relationships/tags" Target="../tags/tag156.xml"/><Relationship Id="rId9" Type="http://schemas.openxmlformats.org/officeDocument/2006/relationships/image" Target="../media/image6.png"/></Relationships>
</file>

<file path=ppt/slideLayouts/_rels/slideLayout4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59.xml"/><Relationship Id="rId7" Type="http://schemas.openxmlformats.org/officeDocument/2006/relationships/image" Target="../media/image6.png"/><Relationship Id="rId2" Type="http://schemas.openxmlformats.org/officeDocument/2006/relationships/tags" Target="../tags/tag15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F9B5A2-5B16-4452-A3C9-32804027E3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EFE778-6221-4C61-AF35-8CE3B922B1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B89BE0-4182-4D96-AC86-225DDC0FAA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CB899-85B9-43BB-92A3-723FF78FB8DA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6A31B0-FCCD-4945-935F-E0C62453A6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732E68-9638-49F9-AD52-3A729A11A7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D9170-7566-4B42-831B-868831DE05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2294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9E9C72-16BB-4DC6-9E3E-AF4A2340C5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4951B8B-1216-4EA0-8C2E-56F39763C33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DFC913-7394-4045-B49D-F211B3E359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CB899-85B9-43BB-92A3-723FF78FB8DA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FC8E8C-3EE2-4BD8-8882-903E7B530B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CF4A3A-0B04-4F0C-A1D6-33FD61EB1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D9170-7566-4B42-831B-868831DE05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49927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CCB33B4-91A5-4D55-914E-3FEDFEDCC02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DAC25D1-3EA4-4368-AB99-E7B52D0A9A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8AA844-2DCB-4528-BBAF-C04166D94D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CB899-85B9-43BB-92A3-723FF78FB8DA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0C2C21-0595-486B-9A55-600B0D30EF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71E037-72E4-405C-A247-891E94405F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D9170-7566-4B42-831B-868831DE05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5973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0240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3"/>
            <a:ext cx="6967728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5EF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72983"/>
            <a:ext cx="6967728" cy="3139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843338" cy="1108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24DC3F5F-64F4-4577-86AE-949EADD3D61A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7" y="654638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806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806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1732E894-68FA-41AE-BF49-17845D4FEBAB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547242" y="655407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800"/>
              <a:t>Source: …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5834131-9404-420B-89C8-57247C2053B6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553977" y="6414860"/>
            <a:ext cx="862075" cy="401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6357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ADABC8-E387-4985-813B-8836BCD8BF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23C9E5-EE03-4424-B38F-27E5A463CE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D6A5CE-7B6E-4F8E-9597-7943AB7962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C21A4-4185-40AB-9334-B9D6195D52D8}" type="datetimeFigureOut">
              <a:rPr lang="en-BE" smtClean="0"/>
              <a:t>06/10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FFEA87-AA13-497E-8905-37D1AD0A5D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A560F-C5F0-4E2D-89FB-8F01046E1B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A36F-51DD-4CA0-85AB-B67C9855877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2770801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209FE7-6100-4FFF-A7C3-B1AB7063F5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19BDB6-8C01-4D59-832C-00BCA207C3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06230A-8193-4E62-951E-328F0F7F2D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C21A4-4185-40AB-9334-B9D6195D52D8}" type="datetimeFigureOut">
              <a:rPr lang="en-BE" smtClean="0"/>
              <a:t>06/10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C5AC1A-AAD4-419C-8095-0A22DC9035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2A6464-DA7A-404D-BA7C-404EE23497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A36F-51DD-4CA0-85AB-B67C9855877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8513957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D4955-E57F-4466-B937-580D7E15C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758881-9F12-418D-88C7-C0C6E3E8EC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EB16D2-857A-4488-996F-8CC1A09390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C21A4-4185-40AB-9334-B9D6195D52D8}" type="datetimeFigureOut">
              <a:rPr lang="en-BE" smtClean="0"/>
              <a:t>06/10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567CC0-BE58-48A9-9799-960A19F1F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04C1A1-3707-43AF-A26D-997A835A9B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A36F-51DD-4CA0-85AB-B67C9855877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354106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330181-A78C-4762-9CAD-639DE76FFF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E703DD-BCA5-4F7F-A225-C4A5CE13BB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F8C0306-0406-4B4B-8001-31B31CCDD9C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AE814D5-A5CA-4E04-B909-C2DA47D5BF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C21A4-4185-40AB-9334-B9D6195D52D8}" type="datetimeFigureOut">
              <a:rPr lang="en-BE" smtClean="0"/>
              <a:t>06/10/2024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277E8B-007A-4848-94F3-937877D3AD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EAB61E-4B50-4E8D-B1FA-9583BF8CF9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A36F-51DD-4CA0-85AB-B67C9855877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42587665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188FE0-FE4E-409E-B136-AD9DD4D79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8A5020-D005-48BF-AC9F-8A738DDC8E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23DC7B-49F3-4071-8DAF-23763731DAC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3BEED77-2F4E-4E7B-B1B1-D4224FD5F1C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401754F-74D7-4BFA-BC62-66DFC183A48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57861C5-DBEB-4F76-90F2-1E4C483ED6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C21A4-4185-40AB-9334-B9D6195D52D8}" type="datetimeFigureOut">
              <a:rPr lang="en-BE" smtClean="0"/>
              <a:t>06/10/2024</a:t>
            </a:fld>
            <a:endParaRPr lang="en-B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1A0082F-A66E-4994-9703-EAC9A03A02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7F21E99-DAC8-46B3-B0E6-1461E8D5A8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A36F-51DD-4CA0-85AB-B67C9855877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7543997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AB66DF-B5F7-435C-82D9-D72874F7D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2C3150-CA12-4C87-A455-25E1503E43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C21A4-4185-40AB-9334-B9D6195D52D8}" type="datetimeFigureOut">
              <a:rPr lang="en-BE" smtClean="0"/>
              <a:t>06/10/2024</a:t>
            </a:fld>
            <a:endParaRPr lang="en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B0DF1F-7CE9-47A2-885B-2077B4FECF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C7FD67-2CEA-41A8-A4AE-AB5D60B233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A36F-51DD-4CA0-85AB-B67C9855877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1743564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D237ED1-5D2E-41B6-B2BA-EB40988979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C21A4-4185-40AB-9334-B9D6195D52D8}" type="datetimeFigureOut">
              <a:rPr lang="en-BE" smtClean="0"/>
              <a:t>06/10/2024</a:t>
            </a:fld>
            <a:endParaRPr lang="en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71E337-0F9D-41FE-8269-D3CE4E2EA5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EFB65A-D175-41DF-9525-384A10A73F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A36F-51DD-4CA0-85AB-B67C9855877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2602255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B25203-2749-4195-8165-E9E99BA13A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3750C2-16A2-4B35-9704-58A4AFFF5E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0F3775-630C-4CBF-B41B-15B974E08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CB899-85B9-43BB-92A3-723FF78FB8DA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F98D56-ACBA-4E12-8640-890DFB407B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2C686-EFFF-493C-9471-1E76625799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D9170-7566-4B42-831B-868831DE05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1267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2EBFEF-EEC5-48F3-88DA-94350E2C6A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50985E-1979-49C4-A75F-C22459B310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F14B39-2B02-425E-810E-6747AF247B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B0ADB6B-01B8-4986-B029-9D6BAFA221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C21A4-4185-40AB-9334-B9D6195D52D8}" type="datetimeFigureOut">
              <a:rPr lang="en-BE" smtClean="0"/>
              <a:t>06/10/2024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91D6A7-BA83-4FCA-862A-58EE372196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CA9CD-A763-4FB5-8FA9-8C16B6A6F6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A36F-51DD-4CA0-85AB-B67C9855877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5984839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B368D-15B6-47FB-BC9E-D6D92545A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E68C37A-C69A-4E46-9A4F-45A4F77DF44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9D8917-70DD-48E5-BC7C-5880825EC5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721CCA-397B-485E-8502-8AC1D99D65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C21A4-4185-40AB-9334-B9D6195D52D8}" type="datetimeFigureOut">
              <a:rPr lang="en-BE" smtClean="0"/>
              <a:t>06/10/2024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75B3ECD-B8BB-4336-8531-0B54EDEF8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27D870-A30D-4328-9F8F-DAA1E44BD5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A36F-51DD-4CA0-85AB-B67C9855877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5419046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13974C-E31F-4639-9B82-27F7274D4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3D67B1-F9E3-4B2B-8638-3614A22532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71BB59-166C-4FBE-BB81-86006C9965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C21A4-4185-40AB-9334-B9D6195D52D8}" type="datetimeFigureOut">
              <a:rPr lang="en-BE" smtClean="0"/>
              <a:t>06/10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3F926E-51F7-404D-9A87-77C6C2DCA5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D0E590-6F87-4D05-A769-54A266482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A36F-51DD-4CA0-85AB-B67C9855877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1367919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448CA25-E769-493F-BCA5-DC180C7303A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E974C0E-48CF-47B7-84D1-C22EB0B070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B46BA4-58D7-4B5F-9925-0103EE581E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C21A4-4185-40AB-9334-B9D6195D52D8}" type="datetimeFigureOut">
              <a:rPr lang="en-BE" smtClean="0"/>
              <a:t>06/10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6BA943-3B24-4611-8562-25C71619A7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669983-8D23-4D14-B372-11D0C3AF2F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A36F-51DD-4CA0-85AB-B67C9855877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0564395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19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ocumenttype">
            <a:extLst>
              <a:ext uri="{FF2B5EF4-FFF2-40B4-BE49-F238E27FC236}">
                <a16:creationId xmlns:a16="http://schemas.microsoft.com/office/drawing/2014/main" id="{64A3EBFD-6B31-475C-8D77-C91CBE95C7D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21159" y="5114946"/>
            <a:ext cx="4292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DDB3A82-7E42-4F20-A0C1-1B535BCAF617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21159" y="4253348"/>
            <a:ext cx="4292600" cy="6924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  <a:p>
            <a:pPr lvl="0"/>
            <a:endParaRPr lang="en-US" dirty="0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EB21A5DF-1B1A-4958-9082-ACF93E1C2B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21159" y="2052922"/>
            <a:ext cx="4292600" cy="20313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9974C82-1057-428E-94FE-7E1661EAF8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37520"/>
          <a:stretch/>
        </p:blipFill>
        <p:spPr>
          <a:xfrm>
            <a:off x="621159" y="272117"/>
            <a:ext cx="2060840" cy="467472"/>
          </a:xfrm>
          <a:prstGeom prst="rect">
            <a:avLst/>
          </a:prstGeom>
        </p:spPr>
      </p:pic>
      <p:pic>
        <p:nvPicPr>
          <p:cNvPr id="17" name="Picture 49" descr="gray textile on brown wooden table">
            <a:extLst>
              <a:ext uri="{FF2B5EF4-FFF2-40B4-BE49-F238E27FC236}">
                <a16:creationId xmlns:a16="http://schemas.microsoft.com/office/drawing/2014/main" id="{083A7D68-3B68-47C5-82B5-92E1D0FFA0A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89"/>
          <a:stretch/>
        </p:blipFill>
        <p:spPr bwMode="auto">
          <a:xfrm rot="10800000">
            <a:off x="6419852" y="0"/>
            <a:ext cx="5799858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2046F408-3F76-472D-815E-4DFAA23760E7}"/>
              </a:ext>
            </a:extLst>
          </p:cNvPr>
          <p:cNvSpPr/>
          <p:nvPr userDrawn="1"/>
        </p:nvSpPr>
        <p:spPr>
          <a:xfrm rot="16200000">
            <a:off x="3543366" y="3986178"/>
            <a:ext cx="5657851" cy="857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B7BAD84-385F-4A08-9434-81C6167FE4AB}"/>
              </a:ext>
            </a:extLst>
          </p:cNvPr>
          <p:cNvSpPr/>
          <p:nvPr userDrawn="1"/>
        </p:nvSpPr>
        <p:spPr>
          <a:xfrm>
            <a:off x="2648320" y="257175"/>
            <a:ext cx="119139" cy="77652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</a:pPr>
            <a:r>
              <a:rPr lang="en-US" sz="600" dirty="0">
                <a:solidFill>
                  <a:schemeClr val="tx1"/>
                </a:solidFill>
              </a:rPr>
              <a:t>TM</a:t>
            </a:r>
          </a:p>
        </p:txBody>
      </p:sp>
    </p:spTree>
    <p:extLst>
      <p:ext uri="{BB962C8B-B14F-4D97-AF65-F5344CB8AC3E}">
        <p14:creationId xmlns:p14="http://schemas.microsoft.com/office/powerpoint/2010/main" val="35567818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1127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ocumenttype">
            <a:extLst>
              <a:ext uri="{FF2B5EF4-FFF2-40B4-BE49-F238E27FC236}">
                <a16:creationId xmlns:a16="http://schemas.microsoft.com/office/drawing/2014/main" id="{EB5159D7-86B2-441B-AA55-7A19F6726CE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08814" y="5248715"/>
            <a:ext cx="4505948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F5F8D55B-4CA0-4367-B4A3-AE85152B0617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08814" y="4263866"/>
            <a:ext cx="450594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AC0E937E-CB3A-410D-AE54-7A0B4C719DB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08814" y="2617296"/>
            <a:ext cx="4505948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DC0FE6-1E80-4B4B-BAA6-B5145FF8E6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42014"/>
          <a:stretch/>
        </p:blipFill>
        <p:spPr>
          <a:xfrm>
            <a:off x="508814" y="272116"/>
            <a:ext cx="2060840" cy="43385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0281D69-D2EE-4437-B658-AD3442E2BA4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5425440" y="0"/>
            <a:ext cx="67665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1883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3521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D65C8A06-876C-424C-B559-D7E12BEB81D7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Documenttype">
            <a:extLst>
              <a:ext uri="{FF2B5EF4-FFF2-40B4-BE49-F238E27FC236}">
                <a16:creationId xmlns:a16="http://schemas.microsoft.com/office/drawing/2014/main" id="{A8BBE3EE-F225-43B1-987C-D2B819CE2A0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08813" y="6461501"/>
            <a:ext cx="11185881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F93624AF-D002-467C-987D-6DED416D352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08813" y="5933707"/>
            <a:ext cx="11185881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29C7DBB-9491-40B9-8622-6533549661D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08813" y="5036582"/>
            <a:ext cx="11185881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4917BE7-590E-4888-B8C9-222BA67069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42913"/>
          <a:stretch/>
        </p:blipFill>
        <p:spPr>
          <a:xfrm>
            <a:off x="5065580" y="272116"/>
            <a:ext cx="2060840" cy="42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3372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1131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ocumenttype">
            <a:extLst>
              <a:ext uri="{FF2B5EF4-FFF2-40B4-BE49-F238E27FC236}">
                <a16:creationId xmlns:a16="http://schemas.microsoft.com/office/drawing/2014/main" id="{35D0D9EF-6551-4B23-A11E-2A155D95D80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542213" y="5114925"/>
            <a:ext cx="4292600" cy="2159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3FBA92BA-B61B-4E1B-B915-9E5F719C322D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543800" y="4252913"/>
            <a:ext cx="4292600" cy="6924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US" dirty="0"/>
              <a:t>Click to edit Master subtitle style</a:t>
            </a:r>
          </a:p>
          <a:p>
            <a:pPr lvl="0"/>
            <a:endParaRPr lang="en-US" dirty="0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2A2B9CF-F209-4377-A8A3-9EF0619E9C3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7543800" y="2053313"/>
            <a:ext cx="4292600" cy="20313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1855483-5900-4422-9C15-699E1D9C6D9E}"/>
              </a:ext>
            </a:extLst>
          </p:cNvPr>
          <p:cNvPicPr>
            <a:picLocks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81006" y="1527610"/>
            <a:ext cx="6513261" cy="434217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906DF72-36BA-4B25-92F0-7FA9659D429B}"/>
              </a:ext>
            </a:extLst>
          </p:cNvPr>
          <p:cNvSpPr>
            <a:spLocks/>
          </p:cNvSpPr>
          <p:nvPr userDrawn="1"/>
        </p:nvSpPr>
        <p:spPr>
          <a:xfrm>
            <a:off x="593957" y="988216"/>
            <a:ext cx="6513261" cy="4342174"/>
          </a:xfrm>
          <a:prstGeom prst="rect">
            <a:avLst/>
          </a:prstGeom>
          <a:noFill/>
          <a:ln w="76200" cap="sq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1CC0D71-E758-4A83-BBBF-DD7B008E57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40216"/>
          <a:stretch/>
        </p:blipFill>
        <p:spPr>
          <a:xfrm>
            <a:off x="9581029" y="272117"/>
            <a:ext cx="2060840" cy="447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0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8035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637721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EC0A6D3-7259-4FA8-B069-E0A71E5EA84E}"/>
              </a:ext>
            </a:extLst>
          </p:cNvPr>
          <p:cNvSpPr/>
          <p:nvPr userDrawn="1"/>
        </p:nvSpPr>
        <p:spPr>
          <a:xfrm>
            <a:off x="11233904" y="6362566"/>
            <a:ext cx="119139" cy="77652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600" dirty="0">
                <a:solidFill>
                  <a:schemeClr val="tx1"/>
                </a:solidFill>
              </a:rPr>
              <a:t>TM</a:t>
            </a:r>
          </a:p>
        </p:txBody>
      </p:sp>
    </p:spTree>
    <p:extLst>
      <p:ext uri="{BB962C8B-B14F-4D97-AF65-F5344CB8AC3E}">
        <p14:creationId xmlns:p14="http://schemas.microsoft.com/office/powerpoint/2010/main" val="8197998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2-lin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585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Sticker" hidden="1">
            <a:extLst>
              <a:ext uri="{FF2B5EF4-FFF2-40B4-BE49-F238E27FC236}">
                <a16:creationId xmlns:a16="http://schemas.microsoft.com/office/drawing/2014/main" id="{1BE78E90-512D-48A0-A845-A06C7B40AA52}"/>
              </a:ext>
            </a:extLst>
          </p:cNvPr>
          <p:cNvSpPr txBox="1"/>
          <p:nvPr userDrawn="1"/>
        </p:nvSpPr>
        <p:spPr>
          <a:xfrm>
            <a:off x="558489" y="1401800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 dirty="0"/>
              <a:t>STICKER</a:t>
            </a:r>
          </a:p>
        </p:txBody>
      </p:sp>
      <p:sp>
        <p:nvSpPr>
          <p:cNvPr id="101" name="3. Subtitle">
            <a:extLst>
              <a:ext uri="{FF2B5EF4-FFF2-40B4-BE49-F238E27FC236}">
                <a16:creationId xmlns:a16="http://schemas.microsoft.com/office/drawing/2014/main" id="{8AB5A759-C8C6-4E92-997D-BA04067A36C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1022441"/>
            <a:ext cx="110825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172212"/>
            <a:ext cx="11082528" cy="7694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92AF996-999E-4365-A55E-B49DC4754B7C}"/>
              </a:ext>
            </a:extLst>
          </p:cNvPr>
          <p:cNvSpPr/>
          <p:nvPr userDrawn="1"/>
        </p:nvSpPr>
        <p:spPr>
          <a:xfrm>
            <a:off x="11233904" y="6362566"/>
            <a:ext cx="119139" cy="77652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600" dirty="0">
                <a:solidFill>
                  <a:schemeClr val="tx1"/>
                </a:solidFill>
              </a:rPr>
              <a:t>TM</a:t>
            </a:r>
          </a:p>
        </p:txBody>
      </p:sp>
    </p:spTree>
    <p:extLst>
      <p:ext uri="{BB962C8B-B14F-4D97-AF65-F5344CB8AC3E}">
        <p14:creationId xmlns:p14="http://schemas.microsoft.com/office/powerpoint/2010/main" val="4932925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427B0A-CB7E-4436-9476-633A670E9A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5C7C21-04AA-495F-A396-1AE5FB4B9A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9A8EC0-5972-415B-9D0D-66BE77DA17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CB899-85B9-43BB-92A3-723FF78FB8DA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AE8BF3-8089-433A-BA94-6890449603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9FA4A2-41C2-4E8C-B303-8C051E166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D9170-7566-4B42-831B-868831DE05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10405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5279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408557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5B6518F-2CA3-4D9C-A359-208FCC1BCFC7}"/>
              </a:ext>
            </a:extLst>
          </p:cNvPr>
          <p:cNvSpPr/>
          <p:nvPr userDrawn="1"/>
        </p:nvSpPr>
        <p:spPr>
          <a:xfrm>
            <a:off x="11233904" y="6362566"/>
            <a:ext cx="119139" cy="77652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600" dirty="0">
                <a:solidFill>
                  <a:schemeClr val="tx1"/>
                </a:solidFill>
              </a:rPr>
              <a:t>TM</a:t>
            </a:r>
          </a:p>
        </p:txBody>
      </p:sp>
    </p:spTree>
    <p:extLst>
      <p:ext uri="{BB962C8B-B14F-4D97-AF65-F5344CB8AC3E}">
        <p14:creationId xmlns:p14="http://schemas.microsoft.com/office/powerpoint/2010/main" val="16455148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92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ADB8608-BB90-49AE-927D-89BAE157ABF1}"/>
              </a:ext>
            </a:extLst>
          </p:cNvPr>
          <p:cNvSpPr/>
          <p:nvPr userDrawn="1"/>
        </p:nvSpPr>
        <p:spPr>
          <a:xfrm>
            <a:off x="11233904" y="6362566"/>
            <a:ext cx="119139" cy="77652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600" dirty="0">
                <a:solidFill>
                  <a:schemeClr val="tx1"/>
                </a:solidFill>
              </a:rPr>
              <a:t>TM</a:t>
            </a:r>
          </a:p>
        </p:txBody>
      </p:sp>
    </p:spTree>
    <p:extLst>
      <p:ext uri="{BB962C8B-B14F-4D97-AF65-F5344CB8AC3E}">
        <p14:creationId xmlns:p14="http://schemas.microsoft.com/office/powerpoint/2010/main" val="21177182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4511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D7A5446-F642-4E98-9AAA-03958CF4833C}"/>
              </a:ext>
            </a:extLst>
          </p:cNvPr>
          <p:cNvSpPr/>
          <p:nvPr userDrawn="1"/>
        </p:nvSpPr>
        <p:spPr>
          <a:xfrm>
            <a:off x="11233904" y="6362566"/>
            <a:ext cx="119139" cy="77652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600" dirty="0">
                <a:solidFill>
                  <a:schemeClr val="tx1"/>
                </a:solidFill>
              </a:rPr>
              <a:t>TM</a:t>
            </a:r>
          </a:p>
        </p:txBody>
      </p:sp>
    </p:spTree>
    <p:extLst>
      <p:ext uri="{BB962C8B-B14F-4D97-AF65-F5344CB8AC3E}">
        <p14:creationId xmlns:p14="http://schemas.microsoft.com/office/powerpoint/2010/main" val="2498026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7653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847C0B2-2A1A-4FA8-89C6-904F6620378D}"/>
              </a:ext>
            </a:extLst>
          </p:cNvPr>
          <p:cNvSpPr/>
          <p:nvPr userDrawn="1"/>
        </p:nvSpPr>
        <p:spPr>
          <a:xfrm>
            <a:off x="11233904" y="6362566"/>
            <a:ext cx="119139" cy="77652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600" dirty="0">
                <a:solidFill>
                  <a:schemeClr val="tx1"/>
                </a:solidFill>
              </a:rPr>
              <a:t>TM</a:t>
            </a:r>
          </a:p>
        </p:txBody>
      </p:sp>
    </p:spTree>
    <p:extLst>
      <p:ext uri="{BB962C8B-B14F-4D97-AF65-F5344CB8AC3E}">
        <p14:creationId xmlns:p14="http://schemas.microsoft.com/office/powerpoint/2010/main" val="187222906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921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B011FA-D990-47CF-853A-2883711E717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10015999" y="6380256"/>
            <a:ext cx="1239969" cy="29479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DC48C84-99F2-40C1-8611-6673010B2DED}"/>
              </a:ext>
            </a:extLst>
          </p:cNvPr>
          <p:cNvSpPr/>
          <p:nvPr userDrawn="1"/>
        </p:nvSpPr>
        <p:spPr>
          <a:xfrm>
            <a:off x="11233904" y="6362566"/>
            <a:ext cx="119139" cy="77652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600" dirty="0">
                <a:solidFill>
                  <a:schemeClr val="tx1"/>
                </a:solidFill>
              </a:rPr>
              <a:t>TM</a:t>
            </a:r>
          </a:p>
        </p:txBody>
      </p:sp>
    </p:spTree>
    <p:extLst>
      <p:ext uri="{BB962C8B-B14F-4D97-AF65-F5344CB8AC3E}">
        <p14:creationId xmlns:p14="http://schemas.microsoft.com/office/powerpoint/2010/main" val="33846840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1885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3019FD6-5B30-4FD4-B668-DE260F18F5F5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10015999" y="6380256"/>
            <a:ext cx="1239969" cy="29479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657597A-CBFC-41CC-B636-FDCBC40E02FF}"/>
              </a:ext>
            </a:extLst>
          </p:cNvPr>
          <p:cNvSpPr/>
          <p:nvPr userDrawn="1"/>
        </p:nvSpPr>
        <p:spPr>
          <a:xfrm>
            <a:off x="11233904" y="6362566"/>
            <a:ext cx="119139" cy="77652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600" dirty="0">
                <a:solidFill>
                  <a:schemeClr val="tx1"/>
                </a:solidFill>
              </a:rPr>
              <a:t>TM</a:t>
            </a:r>
          </a:p>
        </p:txBody>
      </p:sp>
    </p:spTree>
    <p:extLst>
      <p:ext uri="{BB962C8B-B14F-4D97-AF65-F5344CB8AC3E}">
        <p14:creationId xmlns:p14="http://schemas.microsoft.com/office/powerpoint/2010/main" val="15202016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7715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637721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50C7D9-D100-4658-AE52-518782429A82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10015999" y="6380256"/>
            <a:ext cx="1239969" cy="29479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DF7F119-963F-45E1-8392-45F78A562C62}"/>
              </a:ext>
            </a:extLst>
          </p:cNvPr>
          <p:cNvSpPr/>
          <p:nvPr userDrawn="1"/>
        </p:nvSpPr>
        <p:spPr>
          <a:xfrm>
            <a:off x="11233904" y="6362566"/>
            <a:ext cx="119139" cy="77652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600" dirty="0">
                <a:solidFill>
                  <a:schemeClr val="tx1"/>
                </a:solidFill>
              </a:rPr>
              <a:t>TM</a:t>
            </a:r>
          </a:p>
        </p:txBody>
      </p:sp>
    </p:spTree>
    <p:extLst>
      <p:ext uri="{BB962C8B-B14F-4D97-AF65-F5344CB8AC3E}">
        <p14:creationId xmlns:p14="http://schemas.microsoft.com/office/powerpoint/2010/main" val="30443180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472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384721"/>
          </a:xfrm>
        </p:spPr>
        <p:txBody>
          <a:bodyPr vert="horz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637721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5A879E9-AE71-4939-8CFD-BCC9CAF403E8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10015999" y="6380256"/>
            <a:ext cx="1239969" cy="29479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C67EE5-F3CB-480A-B7D4-3A27DE346C15}"/>
              </a:ext>
            </a:extLst>
          </p:cNvPr>
          <p:cNvSpPr/>
          <p:nvPr userDrawn="1"/>
        </p:nvSpPr>
        <p:spPr>
          <a:xfrm>
            <a:off x="11233904" y="6362566"/>
            <a:ext cx="119139" cy="77652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600" dirty="0">
                <a:solidFill>
                  <a:schemeClr val="tx1"/>
                </a:solidFill>
              </a:rPr>
              <a:t>TM</a:t>
            </a:r>
          </a:p>
        </p:txBody>
      </p:sp>
    </p:spTree>
    <p:extLst>
      <p:ext uri="{BB962C8B-B14F-4D97-AF65-F5344CB8AC3E}">
        <p14:creationId xmlns:p14="http://schemas.microsoft.com/office/powerpoint/2010/main" val="27143711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2540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7918704" cy="384721"/>
          </a:xfrm>
        </p:spPr>
        <p:txBody>
          <a:bodyPr vert="horz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637721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BC59816-2BB9-4F3D-8423-9C3B3C2B214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10015999" y="6380256"/>
            <a:ext cx="1239969" cy="29479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00A9066-5E93-47AD-A832-AE793C4E0C93}"/>
              </a:ext>
            </a:extLst>
          </p:cNvPr>
          <p:cNvSpPr/>
          <p:nvPr userDrawn="1"/>
        </p:nvSpPr>
        <p:spPr>
          <a:xfrm>
            <a:off x="11233904" y="6362566"/>
            <a:ext cx="119139" cy="77652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600" dirty="0">
                <a:solidFill>
                  <a:schemeClr val="tx1"/>
                </a:solidFill>
              </a:rPr>
              <a:t>TM</a:t>
            </a:r>
          </a:p>
        </p:txBody>
      </p:sp>
    </p:spTree>
    <p:extLst>
      <p:ext uri="{BB962C8B-B14F-4D97-AF65-F5344CB8AC3E}">
        <p14:creationId xmlns:p14="http://schemas.microsoft.com/office/powerpoint/2010/main" val="39364792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649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>
            <a:sp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637721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367323F-E642-4481-BDE8-B6EF3666C1E7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 bwMode="ltGray">
          <a:xfrm>
            <a:off x="10015999" y="6380256"/>
            <a:ext cx="1239969" cy="29479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07428E3-17F7-47FA-BC94-33E79EAD24BC}"/>
              </a:ext>
            </a:extLst>
          </p:cNvPr>
          <p:cNvSpPr/>
          <p:nvPr userDrawn="1"/>
        </p:nvSpPr>
        <p:spPr>
          <a:xfrm>
            <a:off x="11233904" y="6362566"/>
            <a:ext cx="119139" cy="77652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600" dirty="0">
                <a:solidFill>
                  <a:schemeClr val="bg1"/>
                </a:solidFill>
              </a:rPr>
              <a:t>TM</a:t>
            </a:r>
          </a:p>
        </p:txBody>
      </p:sp>
    </p:spTree>
    <p:extLst>
      <p:ext uri="{BB962C8B-B14F-4D97-AF65-F5344CB8AC3E}">
        <p14:creationId xmlns:p14="http://schemas.microsoft.com/office/powerpoint/2010/main" val="15300414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84F230-6A85-4A26-80A0-541FDBC5F2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8B41E8-F702-4E63-AF37-25BFA2B6250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700D80-E048-473D-9FB9-D8F3F2619B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A09298F-3753-4E39-9A7D-CF80613D2D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CB899-85B9-43BB-92A3-723FF78FB8DA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6698ED-E86D-4AD6-B68E-F1D2842DE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C8C21B-BEA9-43DA-AD9A-8A456A1B2E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D9170-7566-4B42-831B-868831DE05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2630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692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7F13DB0-4F0E-47C0-BC2E-0C67690429B4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 bwMode="ltGray">
          <a:xfrm>
            <a:off x="10015999" y="6380256"/>
            <a:ext cx="1239969" cy="29479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04F9BE7-C168-4B00-A92F-67F4E7530A48}"/>
              </a:ext>
            </a:extLst>
          </p:cNvPr>
          <p:cNvSpPr/>
          <p:nvPr userDrawn="1"/>
        </p:nvSpPr>
        <p:spPr>
          <a:xfrm>
            <a:off x="11233904" y="6362566"/>
            <a:ext cx="119139" cy="77652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600" dirty="0">
                <a:solidFill>
                  <a:schemeClr val="bg1"/>
                </a:solidFill>
              </a:rPr>
              <a:t>TM</a:t>
            </a:r>
          </a:p>
        </p:txBody>
      </p:sp>
    </p:spTree>
    <p:extLst>
      <p:ext uri="{BB962C8B-B14F-4D97-AF65-F5344CB8AC3E}">
        <p14:creationId xmlns:p14="http://schemas.microsoft.com/office/powerpoint/2010/main" val="6345730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2205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26F0BEF-CA0D-4741-8117-47A8F745B11C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 bwMode="ltGray">
          <a:xfrm>
            <a:off x="10015999" y="6380256"/>
            <a:ext cx="1239969" cy="29479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9B94754-0E3E-462F-901C-F9C44C788878}"/>
              </a:ext>
            </a:extLst>
          </p:cNvPr>
          <p:cNvSpPr/>
          <p:nvPr userDrawn="1"/>
        </p:nvSpPr>
        <p:spPr>
          <a:xfrm>
            <a:off x="11233904" y="6362566"/>
            <a:ext cx="119139" cy="77652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600" dirty="0">
                <a:solidFill>
                  <a:schemeClr val="bg1"/>
                </a:solidFill>
              </a:rPr>
              <a:t>TM</a:t>
            </a:r>
          </a:p>
        </p:txBody>
      </p:sp>
    </p:spTree>
    <p:extLst>
      <p:ext uri="{BB962C8B-B14F-4D97-AF65-F5344CB8AC3E}">
        <p14:creationId xmlns:p14="http://schemas.microsoft.com/office/powerpoint/2010/main" val="31996901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7530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8" name="Sticker" hidden="1">
            <a:extLst>
              <a:ext uri="{FF2B5EF4-FFF2-40B4-BE49-F238E27FC236}">
                <a16:creationId xmlns:a16="http://schemas.microsoft.com/office/drawing/2014/main" id="{02AE8CE4-BD27-40D4-AB6E-9F41E7636086}"/>
              </a:ext>
            </a:extLst>
          </p:cNvPr>
          <p:cNvSpPr txBox="1"/>
          <p:nvPr userDrawn="1"/>
        </p:nvSpPr>
        <p:spPr>
          <a:xfrm>
            <a:off x="558489" y="1401800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 dirty="0"/>
              <a:t>STI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172212"/>
            <a:ext cx="11082528" cy="1154162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3EFB839-D53B-4A86-B87F-B3EF852CA9BB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10015999" y="6380256"/>
            <a:ext cx="1239969" cy="29479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E5FBF7B-52B3-4A4E-A7D8-DBD2D0BA19D8}"/>
              </a:ext>
            </a:extLst>
          </p:cNvPr>
          <p:cNvSpPr/>
          <p:nvPr userDrawn="1"/>
        </p:nvSpPr>
        <p:spPr>
          <a:xfrm>
            <a:off x="11233904" y="6362566"/>
            <a:ext cx="119139" cy="77652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600" dirty="0">
                <a:solidFill>
                  <a:schemeClr val="tx1"/>
                </a:solidFill>
              </a:rPr>
              <a:t>TM</a:t>
            </a:r>
          </a:p>
        </p:txBody>
      </p:sp>
    </p:spTree>
    <p:extLst>
      <p:ext uri="{BB962C8B-B14F-4D97-AF65-F5344CB8AC3E}">
        <p14:creationId xmlns:p14="http://schemas.microsoft.com/office/powerpoint/2010/main" val="380820272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008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47406B9-F119-4C5B-A149-B58B4944F0E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10015999" y="6380256"/>
            <a:ext cx="1239969" cy="29479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BF5090C-6733-4981-A33A-4CBE56538793}"/>
              </a:ext>
            </a:extLst>
          </p:cNvPr>
          <p:cNvSpPr/>
          <p:nvPr userDrawn="1"/>
        </p:nvSpPr>
        <p:spPr>
          <a:xfrm>
            <a:off x="11233904" y="6362566"/>
            <a:ext cx="119139" cy="77652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600" dirty="0">
                <a:solidFill>
                  <a:schemeClr val="tx1"/>
                </a:solidFill>
              </a:rPr>
              <a:t>TM</a:t>
            </a:r>
          </a:p>
        </p:txBody>
      </p:sp>
    </p:spTree>
    <p:extLst>
      <p:ext uri="{BB962C8B-B14F-4D97-AF65-F5344CB8AC3E}">
        <p14:creationId xmlns:p14="http://schemas.microsoft.com/office/powerpoint/2010/main" val="127624644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8582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3330C5-78D1-4A77-BCE8-1A79885417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3663861" y="2850776"/>
            <a:ext cx="4864280" cy="115644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C55F453-2388-414A-9E2C-4B5A08490EB7}"/>
              </a:ext>
            </a:extLst>
          </p:cNvPr>
          <p:cNvSpPr/>
          <p:nvPr userDrawn="1"/>
        </p:nvSpPr>
        <p:spPr>
          <a:xfrm>
            <a:off x="8486766" y="2885155"/>
            <a:ext cx="339915" cy="183101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dirty="0">
                <a:solidFill>
                  <a:schemeClr val="tx1"/>
                </a:solidFill>
              </a:rPr>
              <a:t>TM</a:t>
            </a:r>
          </a:p>
        </p:txBody>
      </p:sp>
    </p:spTree>
    <p:extLst>
      <p:ext uri="{BB962C8B-B14F-4D97-AF65-F5344CB8AC3E}">
        <p14:creationId xmlns:p14="http://schemas.microsoft.com/office/powerpoint/2010/main" val="28724787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2E67B7-8B66-4817-BA3E-6DD8481432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D79F70-1723-477C-9EFB-258762F0E9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578F3C-0805-4015-8571-691C4FF056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77EB52-E228-49F5-B464-6A2AC2C6266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D1D7748-65ED-407D-8CCC-8B45C36C5F9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139559F-B6CE-411A-B80B-5F4F8BD5A6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CB899-85B9-43BB-92A3-723FF78FB8DA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85CE255-232E-4763-85D2-F0CFEB60CA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AA80C1D-5C52-45E3-B562-5F1ECC6C2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D9170-7566-4B42-831B-868831DE05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28209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A2CF6-42A6-49CF-BAD8-BE5AE681E5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EDF716-1318-4924-AED2-BAC1B7A726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CB899-85B9-43BB-92A3-723FF78FB8DA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D36B08-95D8-43BE-AEE7-FF4BFFAAD9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E68A93-CB22-4E0E-94BE-DAA6AE60BE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D9170-7566-4B42-831B-868831DE05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5061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470F08D-6DB1-4BD5-A4BF-76F9A6F824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CB899-85B9-43BB-92A3-723FF78FB8DA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F96875B-A8D9-49AF-9181-57BC1D7086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E31D1A-88A8-4486-BC2D-0C531042B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D9170-7566-4B42-831B-868831DE05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39748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D3EEB5-C878-4003-93C4-06B5AF2125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512B6C-B207-44F9-9E5B-3D8EC2A265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8549F0-01A6-4C3B-A0B9-4681066D08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ACD49A-8FAB-47D4-9AE8-332DDC1DCB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CB899-85B9-43BB-92A3-723FF78FB8DA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309151-A006-4D7C-ABD9-D05B48A2F9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2A5724-1596-43D1-81C4-E4442BAC8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D9170-7566-4B42-831B-868831DE05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4077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A14305-1925-470E-8E73-7EBE2D5E6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97C5CE-576F-491D-8E5D-284F528FB28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FB64A6-7B09-4F5E-93D2-16AD660B92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96A36D-3542-4BA1-ACF9-48BB20FC9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CB899-85B9-43BB-92A3-723FF78FB8DA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E9FC4D-A519-4EF4-81C1-75B2A1C0EB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12AA77-296B-4E23-9BA9-191B7B24D3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D9170-7566-4B42-831B-868831DE05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4483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slideLayout" Target="../slideLayouts/slideLayout44.xml"/><Relationship Id="rId34" Type="http://schemas.openxmlformats.org/officeDocument/2006/relationships/tags" Target="../tags/tag19.xml"/><Relationship Id="rId42" Type="http://schemas.openxmlformats.org/officeDocument/2006/relationships/tags" Target="../tags/tag27.xml"/><Relationship Id="rId47" Type="http://schemas.microsoft.com/office/2007/relationships/hdphoto" Target="../media/hdphoto1.wdp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9" Type="http://schemas.openxmlformats.org/officeDocument/2006/relationships/tags" Target="../tags/tag14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tags" Target="../tags/tag25.xml"/><Relationship Id="rId45" Type="http://schemas.openxmlformats.org/officeDocument/2006/relationships/image" Target="../media/image5.emf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vmlDrawing" Target="../drawings/vmlDrawing2.v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tags" Target="../tags/tag16.xml"/><Relationship Id="rId44" Type="http://schemas.openxmlformats.org/officeDocument/2006/relationships/oleObject" Target="../embeddings/oleObject2.bin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theme" Target="../theme/theme3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43" Type="http://schemas.openxmlformats.org/officeDocument/2006/relationships/tags" Target="../tags/tag28.xml"/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Relationship Id="rId46" Type="http://schemas.openxmlformats.org/officeDocument/2006/relationships/image" Target="../media/image6.png"/><Relationship Id="rId20" Type="http://schemas.openxmlformats.org/officeDocument/2006/relationships/slideLayout" Target="../slideLayouts/slideLayout43.xml"/><Relationship Id="rId41" Type="http://schemas.openxmlformats.org/officeDocument/2006/relationships/tags" Target="../tags/tag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4DB22ED-38C6-4A60-84B0-933160CEE3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0E0D2B-61F3-418C-9261-8A0264BC9E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6A5E96-2323-44C8-8980-BFC743DCEB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CCB899-85B9-43BB-92A3-723FF78FB8DA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C6B1F4-2292-4ECD-8B2C-19B5D70B84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5E8FD2-7433-4F63-8BC7-A70885579C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AD9170-7566-4B42-831B-868831DE05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563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F5DD78-8D69-4F81-B417-C2FE813C8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1C4C54-FBF2-4BDA-9727-B9F41AEB68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C5DFD6-241D-4DF8-BAEE-1CEF2CC6B9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BC21A4-4185-40AB-9334-B9D6195D52D8}" type="datetimeFigureOut">
              <a:rPr lang="en-BE" smtClean="0"/>
              <a:t>06/10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4BAAD7-4E7F-493A-BE10-542DC9F684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7213EE-AC08-43F2-8122-9696C5306C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C1A36F-51DD-4CA0-85AB-B67C98558772}" type="slidenum">
              <a:rPr lang="en-BE" smtClean="0"/>
              <a:t>‹#›</a:t>
            </a:fld>
            <a:endParaRPr lang="en-BE"/>
          </a:p>
        </p:txBody>
      </p:sp>
      <p:pic>
        <p:nvPicPr>
          <p:cNvPr id="8" name="Picture 7" descr="A screenshot of a cell phone&#10;&#10;Description automatically generated">
            <a:extLst>
              <a:ext uri="{FF2B5EF4-FFF2-40B4-BE49-F238E27FC236}">
                <a16:creationId xmlns:a16="http://schemas.microsoft.com/office/drawing/2014/main" id="{803B47C7-9EFA-49D6-AB02-12AF2B2AFC8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97" y="5784537"/>
            <a:ext cx="2743200" cy="1097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187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397529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4" imgW="592" imgH="591" progId="TCLayout.ActiveDocument.1">
                  <p:embed/>
                </p:oleObj>
              </mc:Choice>
              <mc:Fallback>
                <p:oleObj name="think-cell Slide" r:id="rId4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46" name="Grid" hidden="1">
            <a:extLst>
              <a:ext uri="{FF2B5EF4-FFF2-40B4-BE49-F238E27FC236}">
                <a16:creationId xmlns:a16="http://schemas.microsoft.com/office/drawing/2014/main" id="{00E02929-655A-4D11-8498-7B726B892859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B246553F-F107-4247-AFD2-330A5E29AB37}"/>
                </a:ext>
              </a:extLst>
            </p:cNvPr>
            <p:cNvSpPr/>
            <p:nvPr userDrawn="1"/>
          </p:nvSpPr>
          <p:spPr bwMode="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B004011D-070D-4016-9995-FCB7504D0F9E}"/>
                </a:ext>
              </a:extLst>
            </p:cNvPr>
            <p:cNvSpPr/>
            <p:nvPr/>
          </p:nvSpPr>
          <p:spPr bwMode="gray">
            <a:xfrm>
              <a:off x="1524" y="0"/>
              <a:ext cx="12188952" cy="6858000"/>
            </a:xfrm>
            <a:custGeom>
              <a:avLst/>
              <a:gdLst>
                <a:gd name="connsiteX0" fmla="*/ 553212 w 12188952"/>
                <a:gd name="connsiteY0" fmla="*/ 1405610 h 6858000"/>
                <a:gd name="connsiteX1" fmla="*/ 553212 w 12188952"/>
                <a:gd name="connsiteY1" fmla="*/ 1709928 h 6858000"/>
                <a:gd name="connsiteX2" fmla="*/ 551868 w 12188952"/>
                <a:gd name="connsiteY2" fmla="*/ 1709928 h 6858000"/>
                <a:gd name="connsiteX3" fmla="*/ 551868 w 12188952"/>
                <a:gd name="connsiteY3" fmla="*/ 6217920 h 6858000"/>
                <a:gd name="connsiteX4" fmla="*/ 553212 w 12188952"/>
                <a:gd name="connsiteY4" fmla="*/ 6217920 h 6858000"/>
                <a:gd name="connsiteX5" fmla="*/ 11635740 w 12188952"/>
                <a:gd name="connsiteY5" fmla="*/ 6217920 h 6858000"/>
                <a:gd name="connsiteX6" fmla="*/ 11636196 w 12188952"/>
                <a:gd name="connsiteY6" fmla="*/ 6217920 h 6858000"/>
                <a:gd name="connsiteX7" fmla="*/ 11636196 w 12188952"/>
                <a:gd name="connsiteY7" fmla="*/ 1709928 h 6858000"/>
                <a:gd name="connsiteX8" fmla="*/ 11635740 w 12188952"/>
                <a:gd name="connsiteY8" fmla="*/ 1709928 h 6858000"/>
                <a:gd name="connsiteX9" fmla="*/ 11635740 w 12188952"/>
                <a:gd name="connsiteY9" fmla="*/ 1405610 h 6858000"/>
                <a:gd name="connsiteX10" fmla="*/ 0 w 12188952"/>
                <a:gd name="connsiteY10" fmla="*/ 0 h 6858000"/>
                <a:gd name="connsiteX11" fmla="*/ 12188952 w 12188952"/>
                <a:gd name="connsiteY11" fmla="*/ 0 h 6858000"/>
                <a:gd name="connsiteX12" fmla="*/ 12188952 w 12188952"/>
                <a:gd name="connsiteY12" fmla="*/ 6858000 h 6858000"/>
                <a:gd name="connsiteX13" fmla="*/ 0 w 12188952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188952" h="6858000">
                  <a:moveTo>
                    <a:pt x="553212" y="1405610"/>
                  </a:moveTo>
                  <a:lnTo>
                    <a:pt x="553212" y="1709928"/>
                  </a:lnTo>
                  <a:lnTo>
                    <a:pt x="551868" y="1709928"/>
                  </a:lnTo>
                  <a:lnTo>
                    <a:pt x="551868" y="6217920"/>
                  </a:lnTo>
                  <a:lnTo>
                    <a:pt x="553212" y="6217920"/>
                  </a:lnTo>
                  <a:lnTo>
                    <a:pt x="11635740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lnTo>
                    <a:pt x="11635740" y="1709928"/>
                  </a:lnTo>
                  <a:lnTo>
                    <a:pt x="11635740" y="1405610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8EED4E9C-CBFD-493E-8230-4890744820CD}"/>
                </a:ext>
              </a:extLst>
            </p:cNvPr>
            <p:cNvCxnSpPr/>
            <p:nvPr/>
          </p:nvCxnSpPr>
          <p:spPr bwMode="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C4E7EE8D-5E67-4BAD-BF3E-B49398A0D38A}"/>
                </a:ext>
              </a:extLst>
            </p:cNvPr>
            <p:cNvCxnSpPr/>
            <p:nvPr/>
          </p:nvCxnSpPr>
          <p:spPr bwMode="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EBF4CC32-113E-4603-89B5-B2E9710CEC86}"/>
                </a:ext>
              </a:extLst>
            </p:cNvPr>
            <p:cNvCxnSpPr/>
            <p:nvPr/>
          </p:nvCxnSpPr>
          <p:spPr bwMode="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1F0D8B50-908B-4BBC-B53E-EBFB79D81A0A}"/>
                </a:ext>
              </a:extLst>
            </p:cNvPr>
            <p:cNvCxnSpPr/>
            <p:nvPr/>
          </p:nvCxnSpPr>
          <p:spPr bwMode="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96B0BD72-05B5-4E6D-ADCA-69118552AB73}"/>
                </a:ext>
              </a:extLst>
            </p:cNvPr>
            <p:cNvCxnSpPr/>
            <p:nvPr/>
          </p:nvCxnSpPr>
          <p:spPr bwMode="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6FC8DA45-07AB-4141-99EE-E61BAAE7D11E}"/>
                </a:ext>
              </a:extLst>
            </p:cNvPr>
            <p:cNvCxnSpPr/>
            <p:nvPr/>
          </p:nvCxnSpPr>
          <p:spPr bwMode="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FAD9D4E0-4143-4515-A821-78819A398AF2}"/>
                </a:ext>
              </a:extLst>
            </p:cNvPr>
            <p:cNvCxnSpPr/>
            <p:nvPr/>
          </p:nvCxnSpPr>
          <p:spPr bwMode="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5992F49D-6943-4918-866D-7066A87A4A79}"/>
                </a:ext>
              </a:extLst>
            </p:cNvPr>
            <p:cNvCxnSpPr/>
            <p:nvPr/>
          </p:nvCxnSpPr>
          <p:spPr bwMode="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1FE62798-DF2C-4227-978E-F44634E9B13E}"/>
                </a:ext>
              </a:extLst>
            </p:cNvPr>
            <p:cNvCxnSpPr/>
            <p:nvPr/>
          </p:nvCxnSpPr>
          <p:spPr bwMode="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2E77B44F-95E2-4A82-9055-AF6FD632A4C2}"/>
                </a:ext>
              </a:extLst>
            </p:cNvPr>
            <p:cNvCxnSpPr/>
            <p:nvPr/>
          </p:nvCxnSpPr>
          <p:spPr bwMode="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B867695C-B379-491F-A7BA-BB9CDD95C0A2}"/>
                </a:ext>
              </a:extLst>
            </p:cNvPr>
            <p:cNvCxnSpPr/>
            <p:nvPr/>
          </p:nvCxnSpPr>
          <p:spPr bwMode="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3CF70945-7437-42D7-8530-CC82474AD8C7}"/>
                </a:ext>
              </a:extLst>
            </p:cNvPr>
            <p:cNvCxnSpPr/>
            <p:nvPr/>
          </p:nvCxnSpPr>
          <p:spPr bwMode="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DA9FAF73-F6CC-433E-9E54-926227DC3B49}"/>
                </a:ext>
              </a:extLst>
            </p:cNvPr>
            <p:cNvSpPr/>
            <p:nvPr/>
          </p:nvSpPr>
          <p:spPr bwMode="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E34A557B-494C-4AD9-8F89-E5E9AF83C5C9}"/>
                </a:ext>
              </a:extLst>
            </p:cNvPr>
            <p:cNvSpPr/>
            <p:nvPr/>
          </p:nvSpPr>
          <p:spPr bwMode="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EF51026B-29C4-4F7C-BFF5-D2620B54A446}"/>
                </a:ext>
              </a:extLst>
            </p:cNvPr>
            <p:cNvSpPr/>
            <p:nvPr/>
          </p:nvSpPr>
          <p:spPr bwMode="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F9CB8DDA-DEB9-4F33-8B16-4080680C908C}"/>
                </a:ext>
              </a:extLst>
            </p:cNvPr>
            <p:cNvSpPr/>
            <p:nvPr/>
          </p:nvSpPr>
          <p:spPr bwMode="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3CB0E135-78BE-4A78-8B8E-49EE618FDE01}"/>
                </a:ext>
              </a:extLst>
            </p:cNvPr>
            <p:cNvSpPr/>
            <p:nvPr/>
          </p:nvSpPr>
          <p:spPr bwMode="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78208839-3FD9-4108-AF55-EFAFE64878DE}"/>
                </a:ext>
              </a:extLst>
            </p:cNvPr>
            <p:cNvSpPr/>
            <p:nvPr/>
          </p:nvSpPr>
          <p:spPr bwMode="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2B2AC86F-33CA-4F2C-87E3-578BBC834878}"/>
                </a:ext>
              </a:extLst>
            </p:cNvPr>
            <p:cNvSpPr/>
            <p:nvPr/>
          </p:nvSpPr>
          <p:spPr bwMode="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B399E9D3-5CD6-46EF-8841-082C09FE512F}"/>
                </a:ext>
              </a:extLst>
            </p:cNvPr>
            <p:cNvSpPr/>
            <p:nvPr/>
          </p:nvSpPr>
          <p:spPr bwMode="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F1BE799B-05CC-43C3-BA7F-F6C85C06E3A1}"/>
                </a:ext>
              </a:extLst>
            </p:cNvPr>
            <p:cNvSpPr/>
            <p:nvPr/>
          </p:nvSpPr>
          <p:spPr bwMode="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29922180-B37A-4F36-9EF1-968A7058C3E4}"/>
                </a:ext>
              </a:extLst>
            </p:cNvPr>
            <p:cNvSpPr/>
            <p:nvPr/>
          </p:nvSpPr>
          <p:spPr bwMode="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2F205530-B739-4965-8F39-00F8FBF9EACF}"/>
                </a:ext>
              </a:extLst>
            </p:cNvPr>
            <p:cNvSpPr/>
            <p:nvPr/>
          </p:nvSpPr>
          <p:spPr bwMode="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A9BFC6E5-704D-4104-8F1F-6DB1C235A93C}"/>
                </a:ext>
              </a:extLst>
            </p:cNvPr>
            <p:cNvSpPr/>
            <p:nvPr/>
          </p:nvSpPr>
          <p:spPr bwMode="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4385216E-CB37-47AA-A5EC-C860686082F4}"/>
                </a:ext>
              </a:extLst>
            </p:cNvPr>
            <p:cNvSpPr/>
            <p:nvPr/>
          </p:nvSpPr>
          <p:spPr bwMode="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8E699DF9-8C96-4EF1-8278-09F68ECAD255}"/>
                </a:ext>
              </a:extLst>
            </p:cNvPr>
            <p:cNvSpPr/>
            <p:nvPr/>
          </p:nvSpPr>
          <p:spPr bwMode="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A032DDF0-DB7D-4C06-9B2E-FEBAC77CE493}"/>
                </a:ext>
              </a:extLst>
            </p:cNvPr>
            <p:cNvSpPr/>
            <p:nvPr userDrawn="1"/>
          </p:nvSpPr>
          <p:spPr bwMode="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4B7943A5-8846-4B6F-925D-749F0A92CCE3}"/>
                </a:ext>
              </a:extLst>
            </p:cNvPr>
            <p:cNvSpPr/>
            <p:nvPr userDrawn="1"/>
          </p:nvSpPr>
          <p:spPr bwMode="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6BAEFCE8-AA4E-4972-BCB1-7CCA549391CB}"/>
                </a:ext>
              </a:extLst>
            </p:cNvPr>
            <p:cNvSpPr/>
            <p:nvPr userDrawn="1"/>
          </p:nvSpPr>
          <p:spPr bwMode="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AC7A7F14-873F-4714-A75C-0839615AA9FB}"/>
                </a:ext>
              </a:extLst>
            </p:cNvPr>
            <p:cNvSpPr/>
            <p:nvPr userDrawn="1"/>
          </p:nvSpPr>
          <p:spPr bwMode="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0917B358-4946-4D30-AAAB-7E0175159EA0}"/>
                </a:ext>
              </a:extLst>
            </p:cNvPr>
            <p:cNvSpPr/>
            <p:nvPr userDrawn="1"/>
          </p:nvSpPr>
          <p:spPr bwMode="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E0BB4314-8F96-4718-8B5E-B905DDE49A7E}"/>
                </a:ext>
              </a:extLst>
            </p:cNvPr>
            <p:cNvSpPr/>
            <p:nvPr userDrawn="1"/>
          </p:nvSpPr>
          <p:spPr bwMode="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D2D0D114-5DE4-4E61-899C-07588FB06DF3}"/>
                </a:ext>
              </a:extLst>
            </p:cNvPr>
            <p:cNvSpPr/>
            <p:nvPr userDrawn="1"/>
          </p:nvSpPr>
          <p:spPr bwMode="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04036915-BBD4-4851-93E8-A797358279D9}"/>
                </a:ext>
              </a:extLst>
            </p:cNvPr>
            <p:cNvSpPr/>
            <p:nvPr userDrawn="1"/>
          </p:nvSpPr>
          <p:spPr bwMode="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06D83B2A-2D56-454A-A448-ACAE0CD1D158}"/>
                </a:ext>
              </a:extLst>
            </p:cNvPr>
            <p:cNvSpPr/>
            <p:nvPr userDrawn="1"/>
          </p:nvSpPr>
          <p:spPr bwMode="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537C2011-1B30-471D-B374-D87B2F631652}"/>
                </a:ext>
              </a:extLst>
            </p:cNvPr>
            <p:cNvSpPr/>
            <p:nvPr userDrawn="1"/>
          </p:nvSpPr>
          <p:spPr bwMode="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C8F76A20-DBFD-4B9A-BE7D-31180C641FA0}"/>
                </a:ext>
              </a:extLst>
            </p:cNvPr>
            <p:cNvCxnSpPr/>
            <p:nvPr userDrawn="1"/>
          </p:nvCxnSpPr>
          <p:spPr bwMode="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>
              <a:extLst>
                <a:ext uri="{FF2B5EF4-FFF2-40B4-BE49-F238E27FC236}">
                  <a16:creationId xmlns:a16="http://schemas.microsoft.com/office/drawing/2014/main" id="{B545DD8E-6238-40A1-A9E7-0CB32914911D}"/>
                </a:ext>
              </a:extLst>
            </p:cNvPr>
            <p:cNvCxnSpPr/>
            <p:nvPr userDrawn="1"/>
          </p:nvCxnSpPr>
          <p:spPr bwMode="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846B7DA4-3920-4B1D-AA7A-BAA908F568D5}"/>
                </a:ext>
              </a:extLst>
            </p:cNvPr>
            <p:cNvCxnSpPr/>
            <p:nvPr userDrawn="1"/>
          </p:nvCxnSpPr>
          <p:spPr bwMode="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F712EFC8-A725-4CCE-8BC8-388C349C2F0F}"/>
                </a:ext>
              </a:extLst>
            </p:cNvPr>
            <p:cNvCxnSpPr/>
            <p:nvPr userDrawn="1"/>
          </p:nvCxnSpPr>
          <p:spPr bwMode="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1E269678-4626-4DD2-AD14-B4E734025420}"/>
                </a:ext>
              </a:extLst>
            </p:cNvPr>
            <p:cNvCxnSpPr/>
            <p:nvPr userDrawn="1"/>
          </p:nvCxnSpPr>
          <p:spPr bwMode="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FEF5B142-72A7-412C-A4A1-ED45648F13E2}"/>
                </a:ext>
              </a:extLst>
            </p:cNvPr>
            <p:cNvCxnSpPr/>
            <p:nvPr userDrawn="1"/>
          </p:nvCxnSpPr>
          <p:spPr bwMode="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86943484-6D68-4D25-BEA2-607B81CC81A1}"/>
                </a:ext>
              </a:extLst>
            </p:cNvPr>
            <p:cNvCxnSpPr/>
            <p:nvPr userDrawn="1"/>
          </p:nvCxnSpPr>
          <p:spPr bwMode="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624BD91D-C4CF-4637-A29C-DFBC02EF78D0}"/>
                </a:ext>
              </a:extLst>
            </p:cNvPr>
            <p:cNvCxnSpPr/>
            <p:nvPr userDrawn="1"/>
          </p:nvCxnSpPr>
          <p:spPr bwMode="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5CBB7BE1-7BDD-42BB-B011-062A7D4DE69C}"/>
                </a:ext>
              </a:extLst>
            </p:cNvPr>
            <p:cNvCxnSpPr/>
            <p:nvPr userDrawn="1"/>
          </p:nvCxnSpPr>
          <p:spPr bwMode="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B4FC5B03-6517-4A88-8B16-A1D4CE1B40F4}"/>
                </a:ext>
              </a:extLst>
            </p:cNvPr>
            <p:cNvCxnSpPr/>
            <p:nvPr userDrawn="1"/>
          </p:nvCxnSpPr>
          <p:spPr bwMode="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832FD3D2-0C2A-4082-A143-4EFFBD928298}"/>
                </a:ext>
              </a:extLst>
            </p:cNvPr>
            <p:cNvCxnSpPr/>
            <p:nvPr userDrawn="1"/>
          </p:nvCxnSpPr>
          <p:spPr bwMode="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13F6219C-6F70-4B61-A6BE-79D0FD7094BF}"/>
                </a:ext>
              </a:extLst>
            </p:cNvPr>
            <p:cNvCxnSpPr/>
            <p:nvPr userDrawn="1"/>
          </p:nvCxnSpPr>
          <p:spPr bwMode="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E3444F34-64A1-4A73-9AAC-870F360D0243}"/>
                </a:ext>
              </a:extLst>
            </p:cNvPr>
            <p:cNvCxnSpPr/>
            <p:nvPr userDrawn="1"/>
          </p:nvCxnSpPr>
          <p:spPr bwMode="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94808C27-CEC5-43D6-B2D7-3C3C7059B573}"/>
                </a:ext>
              </a:extLst>
            </p:cNvPr>
            <p:cNvCxnSpPr/>
            <p:nvPr userDrawn="1"/>
          </p:nvCxnSpPr>
          <p:spPr bwMode="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5B3503CC-B04C-426C-949F-F3FC31425FEB}"/>
                </a:ext>
              </a:extLst>
            </p:cNvPr>
            <p:cNvCxnSpPr/>
            <p:nvPr userDrawn="1"/>
          </p:nvCxnSpPr>
          <p:spPr bwMode="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4A2B1578-5111-4BE7-931E-242321A59CA9}"/>
                </a:ext>
              </a:extLst>
            </p:cNvPr>
            <p:cNvCxnSpPr/>
            <p:nvPr userDrawn="1"/>
          </p:nvCxnSpPr>
          <p:spPr bwMode="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465DDD97-A397-40EC-A211-5E87B6B0B662}"/>
                </a:ext>
              </a:extLst>
            </p:cNvPr>
            <p:cNvCxnSpPr/>
            <p:nvPr userDrawn="1"/>
          </p:nvCxnSpPr>
          <p:spPr bwMode="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AF4D4C72-E117-4C1D-B739-B75FE02B87FC}"/>
                </a:ext>
              </a:extLst>
            </p:cNvPr>
            <p:cNvCxnSpPr/>
            <p:nvPr userDrawn="1"/>
          </p:nvCxnSpPr>
          <p:spPr bwMode="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41AED1DD-F122-4B41-B6BB-7719F1232C06}"/>
                </a:ext>
              </a:extLst>
            </p:cNvPr>
            <p:cNvCxnSpPr/>
            <p:nvPr userDrawn="1"/>
          </p:nvCxnSpPr>
          <p:spPr bwMode="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C2DE51BE-00F9-45C2-9743-601D27D2FCB1}"/>
                </a:ext>
              </a:extLst>
            </p:cNvPr>
            <p:cNvCxnSpPr/>
            <p:nvPr userDrawn="1"/>
          </p:nvCxnSpPr>
          <p:spPr bwMode="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51DBDE71-C5A4-47D0-8F4D-445ED7EBBC02}"/>
                </a:ext>
              </a:extLst>
            </p:cNvPr>
            <p:cNvCxnSpPr/>
            <p:nvPr userDrawn="1"/>
          </p:nvCxnSpPr>
          <p:spPr bwMode="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C4E39DC0-CDD5-4BB0-9423-B3CD76795955}"/>
                </a:ext>
              </a:extLst>
            </p:cNvPr>
            <p:cNvCxnSpPr/>
            <p:nvPr userDrawn="1"/>
          </p:nvCxnSpPr>
          <p:spPr bwMode="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34197F31-5ADE-425C-A215-3B985F2D0F70}"/>
                </a:ext>
              </a:extLst>
            </p:cNvPr>
            <p:cNvCxnSpPr/>
            <p:nvPr userDrawn="1"/>
          </p:nvCxnSpPr>
          <p:spPr bwMode="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C3F56A52-6409-474A-AC10-21942DF341D1}"/>
                </a:ext>
              </a:extLst>
            </p:cNvPr>
            <p:cNvCxnSpPr/>
            <p:nvPr userDrawn="1"/>
          </p:nvCxnSpPr>
          <p:spPr bwMode="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0F880D30-4361-4F07-9E65-761B56E8D8DF}"/>
                </a:ext>
              </a:extLst>
            </p:cNvPr>
            <p:cNvCxnSpPr/>
            <p:nvPr userDrawn="1"/>
          </p:nvCxnSpPr>
          <p:spPr bwMode="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00881E81-0967-47FA-B2F5-C2D42469C7EA}"/>
                </a:ext>
              </a:extLst>
            </p:cNvPr>
            <p:cNvCxnSpPr/>
            <p:nvPr userDrawn="1"/>
          </p:nvCxnSpPr>
          <p:spPr bwMode="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68FDAAED-2DE5-4415-AC4F-71BF36E3DAC2}"/>
                </a:ext>
              </a:extLst>
            </p:cNvPr>
            <p:cNvCxnSpPr/>
            <p:nvPr userDrawn="1"/>
          </p:nvCxnSpPr>
          <p:spPr bwMode="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F9B004E8-D88B-4A71-9DF9-0F9A36100A5C}"/>
                </a:ext>
              </a:extLst>
            </p:cNvPr>
            <p:cNvCxnSpPr/>
            <p:nvPr userDrawn="1"/>
          </p:nvCxnSpPr>
          <p:spPr bwMode="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6E082F8F-16FA-4AEB-8166-162C6FCCEB66}"/>
                </a:ext>
              </a:extLst>
            </p:cNvPr>
            <p:cNvCxnSpPr/>
            <p:nvPr userDrawn="1"/>
          </p:nvCxnSpPr>
          <p:spPr bwMode="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FC2DCAFF-2DF6-4BBC-BCDD-0D570455CE06}"/>
                </a:ext>
              </a:extLst>
            </p:cNvPr>
            <p:cNvCxnSpPr/>
            <p:nvPr userDrawn="1"/>
          </p:nvCxnSpPr>
          <p:spPr bwMode="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B977AE58-9FB0-42DA-9B39-BFD87E4B724A}"/>
                </a:ext>
              </a:extLst>
            </p:cNvPr>
            <p:cNvCxnSpPr/>
            <p:nvPr userDrawn="1"/>
          </p:nvCxnSpPr>
          <p:spPr bwMode="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EEF759A5-C252-45E9-B082-FD35CD055299}"/>
                </a:ext>
              </a:extLst>
            </p:cNvPr>
            <p:cNvCxnSpPr/>
            <p:nvPr userDrawn="1"/>
          </p:nvCxnSpPr>
          <p:spPr bwMode="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A6062B46-308B-4012-85F6-0368F5983B75}"/>
                </a:ext>
              </a:extLst>
            </p:cNvPr>
            <p:cNvCxnSpPr/>
            <p:nvPr userDrawn="1"/>
          </p:nvCxnSpPr>
          <p:spPr bwMode="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B0D8E9E1-16CF-4856-B7CC-293CC0754512}"/>
                </a:ext>
              </a:extLst>
            </p:cNvPr>
            <p:cNvCxnSpPr/>
            <p:nvPr userDrawn="1"/>
          </p:nvCxnSpPr>
          <p:spPr bwMode="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CAC04634-4F05-4544-9451-CFC9D7814D5D}"/>
                </a:ext>
              </a:extLst>
            </p:cNvPr>
            <p:cNvCxnSpPr/>
            <p:nvPr userDrawn="1"/>
          </p:nvCxnSpPr>
          <p:spPr bwMode="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B5CF2D49-79B9-43C6-84C8-F0E26D667D1D}"/>
                </a:ext>
              </a:extLst>
            </p:cNvPr>
            <p:cNvCxnSpPr/>
            <p:nvPr userDrawn="1"/>
          </p:nvCxnSpPr>
          <p:spPr bwMode="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19D2EE3B-2073-41B9-BF48-6CF58DCD5F9F}"/>
                </a:ext>
              </a:extLst>
            </p:cNvPr>
            <p:cNvCxnSpPr/>
            <p:nvPr userDrawn="1"/>
          </p:nvCxnSpPr>
          <p:spPr bwMode="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5427CE8A-B394-4BC8-90E6-F01DA9DFEF69}"/>
                </a:ext>
              </a:extLst>
            </p:cNvPr>
            <p:cNvCxnSpPr/>
            <p:nvPr userDrawn="1"/>
          </p:nvCxnSpPr>
          <p:spPr bwMode="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26C3FEEB-8CED-4573-950A-702EA59DB370}"/>
                </a:ext>
              </a:extLst>
            </p:cNvPr>
            <p:cNvCxnSpPr/>
            <p:nvPr userDrawn="1"/>
          </p:nvCxnSpPr>
          <p:spPr bwMode="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124DED01-33FE-453B-8054-51C70E958B69}"/>
                </a:ext>
              </a:extLst>
            </p:cNvPr>
            <p:cNvCxnSpPr/>
            <p:nvPr userDrawn="1"/>
          </p:nvCxnSpPr>
          <p:spPr bwMode="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4BC90B9C-86A4-4B76-AB2F-48C8BA557B2A}"/>
                </a:ext>
              </a:extLst>
            </p:cNvPr>
            <p:cNvCxnSpPr/>
            <p:nvPr userDrawn="1"/>
          </p:nvCxnSpPr>
          <p:spPr bwMode="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FCFD93DC-72B3-48E1-B57C-CAC54C82ED13}"/>
                </a:ext>
              </a:extLst>
            </p:cNvPr>
            <p:cNvCxnSpPr/>
            <p:nvPr userDrawn="1"/>
          </p:nvCxnSpPr>
          <p:spPr bwMode="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614304D6-019F-44B7-8088-DB02E79D3B35}"/>
                </a:ext>
              </a:extLst>
            </p:cNvPr>
            <p:cNvCxnSpPr/>
            <p:nvPr userDrawn="1"/>
          </p:nvCxnSpPr>
          <p:spPr bwMode="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A9A21668-FF36-42B2-8E8C-DC36580D76B7}"/>
                </a:ext>
              </a:extLst>
            </p:cNvPr>
            <p:cNvCxnSpPr/>
            <p:nvPr userDrawn="1"/>
          </p:nvCxnSpPr>
          <p:spPr bwMode="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9" name="main body box">
              <a:extLst>
                <a:ext uri="{FF2B5EF4-FFF2-40B4-BE49-F238E27FC236}">
                  <a16:creationId xmlns:a16="http://schemas.microsoft.com/office/drawing/2014/main" id="{0F4A42CE-FEE6-4F15-ABED-0ED2DF2E0134}"/>
                </a:ext>
              </a:extLst>
            </p:cNvPr>
            <p:cNvSpPr/>
            <p:nvPr userDrawn="1"/>
          </p:nvSpPr>
          <p:spPr bwMode="gray">
            <a:xfrm>
              <a:off x="554736" y="1405610"/>
              <a:ext cx="11082528" cy="4812310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FAFC25A2-0E4C-4885-9514-D2AB63FE0822}"/>
                </a:ext>
              </a:extLst>
            </p:cNvPr>
            <p:cNvCxnSpPr/>
            <p:nvPr userDrawn="1"/>
          </p:nvCxnSpPr>
          <p:spPr bwMode="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C6E16B4E-FA8E-424E-8B59-17E11E8A383B}"/>
                </a:ext>
              </a:extLst>
            </p:cNvPr>
            <p:cNvCxnSpPr/>
            <p:nvPr userDrawn="1"/>
          </p:nvCxnSpPr>
          <p:spPr bwMode="gray">
            <a:xfrm>
              <a:off x="554736" y="1408557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72" name="Sticker" hidden="1">
            <a:extLst>
              <a:ext uri="{FF2B5EF4-FFF2-40B4-BE49-F238E27FC236}">
                <a16:creationId xmlns:a16="http://schemas.microsoft.com/office/drawing/2014/main" id="{B441B46A-23BA-471B-96B6-498030A9A587}"/>
              </a:ext>
            </a:extLst>
          </p:cNvPr>
          <p:cNvSpPr txBox="1"/>
          <p:nvPr userDrawn="1"/>
        </p:nvSpPr>
        <p:spPr>
          <a:xfrm>
            <a:off x="558489" y="964729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384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44" name="LegendBoxes" hidden="1">
            <a:extLst>
              <a:ext uri="{FF2B5EF4-FFF2-40B4-BE49-F238E27FC236}">
                <a16:creationId xmlns:a16="http://schemas.microsoft.com/office/drawing/2014/main" id="{977EA541-BCDE-4CD2-86AD-E066A66BB9FF}"/>
              </a:ext>
            </a:extLst>
          </p:cNvPr>
          <p:cNvGrpSpPr/>
          <p:nvPr userDrawn="1"/>
        </p:nvGrpSpPr>
        <p:grpSpPr>
          <a:xfrm>
            <a:off x="10714801" y="4520490"/>
            <a:ext cx="922463" cy="1717282"/>
            <a:chOff x="10554770" y="4322824"/>
            <a:chExt cx="922463" cy="1717282"/>
          </a:xfrm>
        </p:grpSpPr>
        <p:sp>
          <p:nvSpPr>
            <p:cNvPr id="168" name="RectangleLegend1" hidden="1">
              <a:extLst>
                <a:ext uri="{FF2B5EF4-FFF2-40B4-BE49-F238E27FC236}">
                  <a16:creationId xmlns:a16="http://schemas.microsoft.com/office/drawing/2014/main" id="{B7541855-37EC-41D1-A4F6-48CA49D24E7C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9" name="RectangleLegend2" hidden="1">
              <a:extLst>
                <a:ext uri="{FF2B5EF4-FFF2-40B4-BE49-F238E27FC236}">
                  <a16:creationId xmlns:a16="http://schemas.microsoft.com/office/drawing/2014/main" id="{93912BBB-F0B6-4552-8815-831A6223D225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70" name="RectangleLegend3" hidden="1">
              <a:extLst>
                <a:ext uri="{FF2B5EF4-FFF2-40B4-BE49-F238E27FC236}">
                  <a16:creationId xmlns:a16="http://schemas.microsoft.com/office/drawing/2014/main" id="{9C8FB423-C472-4AE0-8277-AC108D33BB1C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71" name="RectangleLegend4" hidden="1">
              <a:extLst>
                <a:ext uri="{FF2B5EF4-FFF2-40B4-BE49-F238E27FC236}">
                  <a16:creationId xmlns:a16="http://schemas.microsoft.com/office/drawing/2014/main" id="{4DBC555E-818A-46DD-A229-014526FD8D3C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72" name="RectangleLegend5" hidden="1">
              <a:extLst>
                <a:ext uri="{FF2B5EF4-FFF2-40B4-BE49-F238E27FC236}">
                  <a16:creationId xmlns:a16="http://schemas.microsoft.com/office/drawing/2014/main" id="{69E5B2F9-FEB6-4106-B3ED-8EB77291C1B7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73" name="Legend1" hidden="1">
              <a:extLst>
                <a:ext uri="{FF2B5EF4-FFF2-40B4-BE49-F238E27FC236}">
                  <a16:creationId xmlns:a16="http://schemas.microsoft.com/office/drawing/2014/main" id="{29A0721E-10B8-4D37-954E-A4C561ABED75}"/>
                </a:ext>
              </a:extLst>
            </p:cNvPr>
            <p:cNvSpPr txBox="1"/>
            <p:nvPr/>
          </p:nvSpPr>
          <p:spPr>
            <a:xfrm>
              <a:off x="1088091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egend2" hidden="1">
              <a:extLst>
                <a:ext uri="{FF2B5EF4-FFF2-40B4-BE49-F238E27FC236}">
                  <a16:creationId xmlns:a16="http://schemas.microsoft.com/office/drawing/2014/main" id="{49693696-E07B-4301-B97D-EBC08B61DE82}"/>
                </a:ext>
              </a:extLst>
            </p:cNvPr>
            <p:cNvSpPr txBox="1"/>
            <p:nvPr/>
          </p:nvSpPr>
          <p:spPr>
            <a:xfrm>
              <a:off x="1088091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5" name="Legend3" hidden="1">
              <a:extLst>
                <a:ext uri="{FF2B5EF4-FFF2-40B4-BE49-F238E27FC236}">
                  <a16:creationId xmlns:a16="http://schemas.microsoft.com/office/drawing/2014/main" id="{75C55CAF-2185-4856-A310-CD076F56C0DE}"/>
                </a:ext>
              </a:extLst>
            </p:cNvPr>
            <p:cNvSpPr txBox="1"/>
            <p:nvPr/>
          </p:nvSpPr>
          <p:spPr>
            <a:xfrm>
              <a:off x="1088091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7" name="Legend4" hidden="1">
              <a:extLst>
                <a:ext uri="{FF2B5EF4-FFF2-40B4-BE49-F238E27FC236}">
                  <a16:creationId xmlns:a16="http://schemas.microsoft.com/office/drawing/2014/main" id="{4045864A-7BA8-4B04-BF28-F4451635B59F}"/>
                </a:ext>
              </a:extLst>
            </p:cNvPr>
            <p:cNvSpPr txBox="1"/>
            <p:nvPr/>
          </p:nvSpPr>
          <p:spPr>
            <a:xfrm>
              <a:off x="1088091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8" name="Legend5" hidden="1">
              <a:extLst>
                <a:ext uri="{FF2B5EF4-FFF2-40B4-BE49-F238E27FC236}">
                  <a16:creationId xmlns:a16="http://schemas.microsoft.com/office/drawing/2014/main" id="{30F5316A-98D8-47E5-9A1F-8C6A89C9D635}"/>
                </a:ext>
              </a:extLst>
            </p:cNvPr>
            <p:cNvSpPr txBox="1"/>
            <p:nvPr/>
          </p:nvSpPr>
          <p:spPr>
            <a:xfrm>
              <a:off x="1088091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973C6E9E-B8B4-46D5-90BC-B74F5677BB51}"/>
              </a:ext>
            </a:extLst>
          </p:cNvPr>
          <p:cNvGrpSpPr/>
          <p:nvPr userDrawn="1"/>
        </p:nvGrpSpPr>
        <p:grpSpPr>
          <a:xfrm>
            <a:off x="10317304" y="3355023"/>
            <a:ext cx="1319960" cy="958286"/>
            <a:chOff x="10162879" y="3243772"/>
            <a:chExt cx="1319960" cy="958286"/>
          </a:xfrm>
        </p:grpSpPr>
        <p:sp>
          <p:nvSpPr>
            <p:cNvPr id="180" name="Legend1" hidden="1">
              <a:extLst>
                <a:ext uri="{FF2B5EF4-FFF2-40B4-BE49-F238E27FC236}">
                  <a16:creationId xmlns:a16="http://schemas.microsoft.com/office/drawing/2014/main" id="{786D0177-9B03-4D5F-8315-9937CFB720D1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 hidden="1">
              <a:extLst>
                <a:ext uri="{FF2B5EF4-FFF2-40B4-BE49-F238E27FC236}">
                  <a16:creationId xmlns:a16="http://schemas.microsoft.com/office/drawing/2014/main" id="{8A879255-055F-44E0-85C0-F8AD2835DE1F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 hidden="1">
              <a:extLst>
                <a:ext uri="{FF2B5EF4-FFF2-40B4-BE49-F238E27FC236}">
                  <a16:creationId xmlns:a16="http://schemas.microsoft.com/office/drawing/2014/main" id="{A6F6FB5A-9588-44EB-B0BA-25BC4C562D1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 hidden="1">
              <a:extLst>
                <a:ext uri="{FF2B5EF4-FFF2-40B4-BE49-F238E27FC236}">
                  <a16:creationId xmlns:a16="http://schemas.microsoft.com/office/drawing/2014/main" id="{B62C36E4-9716-48E4-81B3-0F0F98CF251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 hidden="1">
              <a:extLst>
                <a:ext uri="{FF2B5EF4-FFF2-40B4-BE49-F238E27FC236}">
                  <a16:creationId xmlns:a16="http://schemas.microsoft.com/office/drawing/2014/main" id="{7FA65D81-CDBC-46AE-82DA-20AC7830BCE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 hidden="1">
              <a:extLst>
                <a:ext uri="{FF2B5EF4-FFF2-40B4-BE49-F238E27FC236}">
                  <a16:creationId xmlns:a16="http://schemas.microsoft.com/office/drawing/2014/main" id="{74AAA2CE-0216-4A6B-B79A-78428A37E28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86" name="LegendMoons" hidden="1">
            <a:extLst>
              <a:ext uri="{FF2B5EF4-FFF2-40B4-BE49-F238E27FC236}">
                <a16:creationId xmlns:a16="http://schemas.microsoft.com/office/drawing/2014/main" id="{0FB013F3-23B1-4C99-B71A-85964DFB7751}"/>
              </a:ext>
            </a:extLst>
          </p:cNvPr>
          <p:cNvGrpSpPr/>
          <p:nvPr userDrawn="1"/>
        </p:nvGrpSpPr>
        <p:grpSpPr>
          <a:xfrm>
            <a:off x="10688315" y="1415983"/>
            <a:ext cx="948949" cy="1731859"/>
            <a:chOff x="7716535" y="2630582"/>
            <a:chExt cx="948949" cy="1731859"/>
          </a:xfrm>
        </p:grpSpPr>
        <p:sp>
          <p:nvSpPr>
            <p:cNvPr id="187" name="Legend1" hidden="1">
              <a:extLst>
                <a:ext uri="{FF2B5EF4-FFF2-40B4-BE49-F238E27FC236}">
                  <a16:creationId xmlns:a16="http://schemas.microsoft.com/office/drawing/2014/main" id="{5171ED2F-437D-4E0F-8F24-E0094E1CBFFE}"/>
                </a:ext>
              </a:extLst>
            </p:cNvPr>
            <p:cNvSpPr txBox="1"/>
            <p:nvPr/>
          </p:nvSpPr>
          <p:spPr>
            <a:xfrm>
              <a:off x="8069167" y="26379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8" name="Legend2" hidden="1">
              <a:extLst>
                <a:ext uri="{FF2B5EF4-FFF2-40B4-BE49-F238E27FC236}">
                  <a16:creationId xmlns:a16="http://schemas.microsoft.com/office/drawing/2014/main" id="{D0DD2535-A941-408F-8775-120FDA3E2942}"/>
                </a:ext>
              </a:extLst>
            </p:cNvPr>
            <p:cNvSpPr txBox="1"/>
            <p:nvPr/>
          </p:nvSpPr>
          <p:spPr>
            <a:xfrm>
              <a:off x="8069167" y="301340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9" name="Legend3" hidden="1">
              <a:extLst>
                <a:ext uri="{FF2B5EF4-FFF2-40B4-BE49-F238E27FC236}">
                  <a16:creationId xmlns:a16="http://schemas.microsoft.com/office/drawing/2014/main" id="{14680DB9-A25D-4B68-9149-B88D0D21A5BC}"/>
                </a:ext>
              </a:extLst>
            </p:cNvPr>
            <p:cNvSpPr txBox="1"/>
            <p:nvPr/>
          </p:nvSpPr>
          <p:spPr>
            <a:xfrm>
              <a:off x="8069167" y="338885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0" name="Legend4" hidden="1">
              <a:extLst>
                <a:ext uri="{FF2B5EF4-FFF2-40B4-BE49-F238E27FC236}">
                  <a16:creationId xmlns:a16="http://schemas.microsoft.com/office/drawing/2014/main" id="{6CAFC7E9-930B-42F3-878F-76078165A8AB}"/>
                </a:ext>
              </a:extLst>
            </p:cNvPr>
            <p:cNvSpPr txBox="1"/>
            <p:nvPr/>
          </p:nvSpPr>
          <p:spPr>
            <a:xfrm>
              <a:off x="8069167" y="3764318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1" name="Legend5" hidden="1">
              <a:extLst>
                <a:ext uri="{FF2B5EF4-FFF2-40B4-BE49-F238E27FC236}">
                  <a16:creationId xmlns:a16="http://schemas.microsoft.com/office/drawing/2014/main" id="{77A96DC9-9FAE-49DE-9879-433A9CBBEBC9}"/>
                </a:ext>
              </a:extLst>
            </p:cNvPr>
            <p:cNvSpPr txBox="1"/>
            <p:nvPr/>
          </p:nvSpPr>
          <p:spPr>
            <a:xfrm>
              <a:off x="8069167" y="413977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92" name="MoonLegend1" hidden="1">
              <a:extLst>
                <a:ext uri="{FF2B5EF4-FFF2-40B4-BE49-F238E27FC236}">
                  <a16:creationId xmlns:a16="http://schemas.microsoft.com/office/drawing/2014/main" id="{13B951B6-4F81-4285-82E3-9D1EAB8E035B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05" name="Oval 204" hidden="1">
                <a:extLst>
                  <a:ext uri="{FF2B5EF4-FFF2-40B4-BE49-F238E27FC236}">
                    <a16:creationId xmlns:a16="http://schemas.microsoft.com/office/drawing/2014/main" id="{4963AAB9-084E-4A7C-8C72-0FAAB51FE1B0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6" name="Arc 205" hidden="1">
                <a:extLst>
                  <a:ext uri="{FF2B5EF4-FFF2-40B4-BE49-F238E27FC236}">
                    <a16:creationId xmlns:a16="http://schemas.microsoft.com/office/drawing/2014/main" id="{2032D187-BA14-4CA2-BD36-27659A3EAB35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193" name="MoonLegend2" hidden="1">
              <a:extLst>
                <a:ext uri="{FF2B5EF4-FFF2-40B4-BE49-F238E27FC236}">
                  <a16:creationId xmlns:a16="http://schemas.microsoft.com/office/drawing/2014/main" id="{96F0F781-8967-4DAA-B262-DBB441F52E4A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03" name="Oval 202" hidden="1">
                <a:extLst>
                  <a:ext uri="{FF2B5EF4-FFF2-40B4-BE49-F238E27FC236}">
                    <a16:creationId xmlns:a16="http://schemas.microsoft.com/office/drawing/2014/main" id="{7C8EE3F2-9D98-4987-82D6-DD934FF30049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4" name="Arc 203" hidden="1">
                <a:extLst>
                  <a:ext uri="{FF2B5EF4-FFF2-40B4-BE49-F238E27FC236}">
                    <a16:creationId xmlns:a16="http://schemas.microsoft.com/office/drawing/2014/main" id="{E6D9A602-4609-4F1B-9C3E-454DEE2C2751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194" name="MoonLegend3" hidden="1">
              <a:extLst>
                <a:ext uri="{FF2B5EF4-FFF2-40B4-BE49-F238E27FC236}">
                  <a16:creationId xmlns:a16="http://schemas.microsoft.com/office/drawing/2014/main" id="{9DBF2575-69D7-42D5-97C3-A94F1BA6CA14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01" name="Oval 200" hidden="1">
                <a:extLst>
                  <a:ext uri="{FF2B5EF4-FFF2-40B4-BE49-F238E27FC236}">
                    <a16:creationId xmlns:a16="http://schemas.microsoft.com/office/drawing/2014/main" id="{847ECD17-72FB-4FBC-BD30-B0A9B9E954E1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2" name="Arc 201" hidden="1">
                <a:extLst>
                  <a:ext uri="{FF2B5EF4-FFF2-40B4-BE49-F238E27FC236}">
                    <a16:creationId xmlns:a16="http://schemas.microsoft.com/office/drawing/2014/main" id="{6AB29D6E-67DD-4D80-9DD9-38EF23647AAE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195" name="MoonLegend4" hidden="1">
              <a:extLst>
                <a:ext uri="{FF2B5EF4-FFF2-40B4-BE49-F238E27FC236}">
                  <a16:creationId xmlns:a16="http://schemas.microsoft.com/office/drawing/2014/main" id="{4074CE0C-CA89-4EDA-A479-1D321DBD4E8D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199" name="Oval 198" hidden="1">
                <a:extLst>
                  <a:ext uri="{FF2B5EF4-FFF2-40B4-BE49-F238E27FC236}">
                    <a16:creationId xmlns:a16="http://schemas.microsoft.com/office/drawing/2014/main" id="{1EE1DED4-B3F4-443A-AC9D-5E98BF1F70B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0" name="Arc 199" hidden="1">
                <a:extLst>
                  <a:ext uri="{FF2B5EF4-FFF2-40B4-BE49-F238E27FC236}">
                    <a16:creationId xmlns:a16="http://schemas.microsoft.com/office/drawing/2014/main" id="{A263D59F-F0AE-412B-8F80-C02F019A570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196" name="MoonLegend5" hidden="1">
              <a:extLst>
                <a:ext uri="{FF2B5EF4-FFF2-40B4-BE49-F238E27FC236}">
                  <a16:creationId xmlns:a16="http://schemas.microsoft.com/office/drawing/2014/main" id="{6FBE7C16-206D-4F9C-8915-F6DC3C992EFE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197" name="Oval 196" hidden="1">
                <a:extLst>
                  <a:ext uri="{FF2B5EF4-FFF2-40B4-BE49-F238E27FC236}">
                    <a16:creationId xmlns:a16="http://schemas.microsoft.com/office/drawing/2014/main" id="{9DE51656-7150-447C-BAB7-59133805D46D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8" name="Arc 197" hidden="1">
                <a:extLst>
                  <a:ext uri="{FF2B5EF4-FFF2-40B4-BE49-F238E27FC236}">
                    <a16:creationId xmlns:a16="http://schemas.microsoft.com/office/drawing/2014/main" id="{5E058DBD-7945-4AA6-A02C-A7AB0C9DF392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pic>
        <p:nvPicPr>
          <p:cNvPr id="135" name="Picture 134">
            <a:extLst>
              <a:ext uri="{FF2B5EF4-FFF2-40B4-BE49-F238E27FC236}">
                <a16:creationId xmlns:a16="http://schemas.microsoft.com/office/drawing/2014/main" id="{ED22693B-A693-4BD4-9FD1-5B4EE4E4873F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BEBA8EAE-BF5A-486C-A8C5-ECC9F3942E4B}">
                <a14:imgProps xmlns:a14="http://schemas.microsoft.com/office/drawing/2010/main">
                  <a14:imgLayer r:embed="rId4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10015999" y="6380256"/>
            <a:ext cx="1239969" cy="294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65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71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883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Relationship Id="rId9" Type="http://schemas.openxmlformats.org/officeDocument/2006/relationships/image" Target="../media/image6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8.jpeg"/><Relationship Id="rId4" Type="http://schemas.openxmlformats.org/officeDocument/2006/relationships/image" Target="../media/image87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9.png"/><Relationship Id="rId2" Type="http://schemas.openxmlformats.org/officeDocument/2006/relationships/tags" Target="../tags/tag16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uratex.eu/" TargetMode="External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26" Type="http://schemas.openxmlformats.org/officeDocument/2006/relationships/image" Target="../media/image40.jpeg"/><Relationship Id="rId3" Type="http://schemas.openxmlformats.org/officeDocument/2006/relationships/image" Target="../media/image17.png"/><Relationship Id="rId21" Type="http://schemas.openxmlformats.org/officeDocument/2006/relationships/image" Target="../media/image35.png"/><Relationship Id="rId7" Type="http://schemas.openxmlformats.org/officeDocument/2006/relationships/image" Target="../media/image21.jpe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5" Type="http://schemas.openxmlformats.org/officeDocument/2006/relationships/image" Target="../media/image39.png"/><Relationship Id="rId33" Type="http://schemas.openxmlformats.org/officeDocument/2006/relationships/image" Target="../media/image47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0.png"/><Relationship Id="rId20" Type="http://schemas.openxmlformats.org/officeDocument/2006/relationships/image" Target="../media/image34.jpeg"/><Relationship Id="rId29" Type="http://schemas.openxmlformats.org/officeDocument/2006/relationships/image" Target="../media/image4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jpeg"/><Relationship Id="rId11" Type="http://schemas.openxmlformats.org/officeDocument/2006/relationships/image" Target="../media/image25.png"/><Relationship Id="rId24" Type="http://schemas.openxmlformats.org/officeDocument/2006/relationships/image" Target="../media/image38.jpeg"/><Relationship Id="rId32" Type="http://schemas.openxmlformats.org/officeDocument/2006/relationships/image" Target="../media/image46.jpg"/><Relationship Id="rId5" Type="http://schemas.openxmlformats.org/officeDocument/2006/relationships/image" Target="../media/image19.jpeg"/><Relationship Id="rId15" Type="http://schemas.openxmlformats.org/officeDocument/2006/relationships/image" Target="../media/image29.jpeg"/><Relationship Id="rId23" Type="http://schemas.openxmlformats.org/officeDocument/2006/relationships/image" Target="../media/image37.png"/><Relationship Id="rId28" Type="http://schemas.openxmlformats.org/officeDocument/2006/relationships/image" Target="../media/image42.png"/><Relationship Id="rId10" Type="http://schemas.openxmlformats.org/officeDocument/2006/relationships/image" Target="../media/image24.png"/><Relationship Id="rId19" Type="http://schemas.openxmlformats.org/officeDocument/2006/relationships/image" Target="../media/image33.jpeg"/><Relationship Id="rId31" Type="http://schemas.openxmlformats.org/officeDocument/2006/relationships/image" Target="../media/image45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jpeg"/><Relationship Id="rId22" Type="http://schemas.openxmlformats.org/officeDocument/2006/relationships/image" Target="../media/image36.svg"/><Relationship Id="rId27" Type="http://schemas.openxmlformats.org/officeDocument/2006/relationships/image" Target="../media/image41.jpeg"/><Relationship Id="rId30" Type="http://schemas.openxmlformats.org/officeDocument/2006/relationships/image" Target="../media/image44.jpg"/><Relationship Id="rId8" Type="http://schemas.openxmlformats.org/officeDocument/2006/relationships/image" Target="../media/image22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jpeg"/><Relationship Id="rId18" Type="http://schemas.openxmlformats.org/officeDocument/2006/relationships/image" Target="../media/image63.jpg"/><Relationship Id="rId3" Type="http://schemas.openxmlformats.org/officeDocument/2006/relationships/image" Target="../media/image48.png"/><Relationship Id="rId7" Type="http://schemas.openxmlformats.org/officeDocument/2006/relationships/image" Target="../media/image52.jpeg"/><Relationship Id="rId12" Type="http://schemas.openxmlformats.org/officeDocument/2006/relationships/image" Target="../media/image57.png"/><Relationship Id="rId17" Type="http://schemas.openxmlformats.org/officeDocument/2006/relationships/image" Target="../media/image62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6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5" Type="http://schemas.openxmlformats.org/officeDocument/2006/relationships/image" Target="../media/image60.jpeg"/><Relationship Id="rId10" Type="http://schemas.openxmlformats.org/officeDocument/2006/relationships/image" Target="../media/image55.jp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A2A9560-F4AD-CBB7-20B0-A48E74F8316F}"/>
              </a:ext>
            </a:extLst>
          </p:cNvPr>
          <p:cNvSpPr txBox="1">
            <a:spLocks/>
          </p:cNvSpPr>
          <p:nvPr/>
        </p:nvSpPr>
        <p:spPr>
          <a:xfrm>
            <a:off x="460936" y="3291111"/>
            <a:ext cx="11111304" cy="1484322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4000" b="1" dirty="0" err="1">
                <a:solidFill>
                  <a:schemeClr val="tx2"/>
                </a:solidFill>
                <a:latin typeface="Open Sans Condensed" panose="020B0806030504020204" pitchFamily="34" charset="0"/>
                <a:ea typeface="Open Sans Condensed" panose="020B0806030504020204" pitchFamily="34" charset="0"/>
                <a:cs typeface="Open Sans Condensed" panose="020B0806030504020204" pitchFamily="34" charset="0"/>
              </a:rPr>
              <a:t>Implementing</a:t>
            </a:r>
            <a:r>
              <a:rPr lang="it-IT" sz="4000" b="1" dirty="0">
                <a:solidFill>
                  <a:schemeClr val="tx2"/>
                </a:solidFill>
                <a:latin typeface="Open Sans Condensed" panose="020B0806030504020204" pitchFamily="34" charset="0"/>
                <a:ea typeface="Open Sans Condensed" panose="020B0806030504020204" pitchFamily="34" charset="0"/>
                <a:cs typeface="Open Sans Condensed" panose="020B0806030504020204" pitchFamily="34" charset="0"/>
              </a:rPr>
              <a:t> the EU </a:t>
            </a:r>
            <a:r>
              <a:rPr lang="it-IT" sz="4000" b="1" dirty="0" err="1">
                <a:solidFill>
                  <a:schemeClr val="tx2"/>
                </a:solidFill>
                <a:latin typeface="Open Sans Condensed" panose="020B0806030504020204" pitchFamily="34" charset="0"/>
                <a:ea typeface="Open Sans Condensed" panose="020B0806030504020204" pitchFamily="34" charset="0"/>
                <a:cs typeface="Open Sans Condensed" panose="020B0806030504020204" pitchFamily="34" charset="0"/>
              </a:rPr>
              <a:t>Sustainable</a:t>
            </a:r>
            <a:r>
              <a:rPr lang="it-IT" sz="4000" b="1" dirty="0">
                <a:solidFill>
                  <a:schemeClr val="tx2"/>
                </a:solidFill>
                <a:latin typeface="Open Sans Condensed" panose="020B0806030504020204" pitchFamily="34" charset="0"/>
                <a:ea typeface="Open Sans Condensed" panose="020B0806030504020204" pitchFamily="34" charset="0"/>
                <a:cs typeface="Open Sans Condensed" panose="020B0806030504020204" pitchFamily="34" charset="0"/>
              </a:rPr>
              <a:t> Textiles Strategy</a:t>
            </a:r>
            <a:endParaRPr lang="en-US" sz="4000" b="1" i="1" dirty="0">
              <a:solidFill>
                <a:schemeClr val="tx2"/>
              </a:solidFill>
              <a:latin typeface="Muli Light" pitchFamily="2" charset="0"/>
              <a:ea typeface="Open Sans Condensed" panose="020B0806030504020204" pitchFamily="34" charset="0"/>
              <a:cs typeface="Open Sans Condensed" panose="020B0806030504020204" pitchFamily="34" charset="0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5264D6B-93AA-5E76-0801-5A0396111638}"/>
              </a:ext>
            </a:extLst>
          </p:cNvPr>
          <p:cNvSpPr txBox="1">
            <a:spLocks/>
          </p:cNvSpPr>
          <p:nvPr/>
        </p:nvSpPr>
        <p:spPr>
          <a:xfrm>
            <a:off x="5588001" y="4757441"/>
            <a:ext cx="5099978" cy="484374"/>
          </a:xfrm>
          <a:prstGeom prst="rect">
            <a:avLst/>
          </a:prstGeom>
        </p:spPr>
        <p:txBody>
          <a:bodyPr anchor="b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b="1" i="1" dirty="0">
                <a:solidFill>
                  <a:schemeClr val="tx2"/>
                </a:solidFill>
                <a:latin typeface="Open Sans Condensed" panose="020B0806030504020204" pitchFamily="34" charset="0"/>
              </a:rPr>
              <a:t>Dirk Vantyghem, 11 June 2024</a:t>
            </a:r>
            <a:endParaRPr lang="en-BE" b="1" dirty="0">
              <a:solidFill>
                <a:schemeClr val="tx2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EEAA8EB-986F-1FB4-7A46-7DA673047D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0671" y="725261"/>
            <a:ext cx="1712369" cy="2091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8458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616EDB7-8A7B-C86C-2EB4-B5CEE16D3D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195" y="1079863"/>
            <a:ext cx="2444024" cy="160542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348DC02-6D92-5A73-DCD4-346AA6E022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051" y="3322189"/>
            <a:ext cx="2603243" cy="215355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1057D5D-7DFE-C14D-C70D-C81310103D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2144" y="3350186"/>
            <a:ext cx="5069991" cy="2356924"/>
          </a:xfrm>
          <a:prstGeom prst="rect">
            <a:avLst/>
          </a:prstGeom>
        </p:spPr>
      </p:pic>
      <p:sp>
        <p:nvSpPr>
          <p:cNvPr id="9" name="Arrow: Right 8">
            <a:extLst>
              <a:ext uri="{FF2B5EF4-FFF2-40B4-BE49-F238E27FC236}">
                <a16:creationId xmlns:a16="http://schemas.microsoft.com/office/drawing/2014/main" id="{4FA07AD5-6215-3C95-7820-C07FE790B715}"/>
              </a:ext>
            </a:extLst>
          </p:cNvPr>
          <p:cNvSpPr/>
          <p:nvPr/>
        </p:nvSpPr>
        <p:spPr>
          <a:xfrm>
            <a:off x="205486" y="2649624"/>
            <a:ext cx="10986389" cy="711634"/>
          </a:xfrm>
          <a:prstGeom prst="rightArrow">
            <a:avLst/>
          </a:prstGeom>
          <a:solidFill>
            <a:srgbClr val="E0C42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9E2A392-FFBF-F0D0-72BB-2F6786F379EC}"/>
              </a:ext>
            </a:extLst>
          </p:cNvPr>
          <p:cNvSpPr txBox="1"/>
          <p:nvPr/>
        </p:nvSpPr>
        <p:spPr>
          <a:xfrm>
            <a:off x="214195" y="2820775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dirty="0"/>
              <a:t>2020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518755F-C77C-4C9A-9B77-7FD65CEAFFFE}"/>
              </a:ext>
            </a:extLst>
          </p:cNvPr>
          <p:cNvSpPr txBox="1"/>
          <p:nvPr/>
        </p:nvSpPr>
        <p:spPr>
          <a:xfrm>
            <a:off x="1412444" y="2820377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dirty="0"/>
              <a:t>2021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F21040C-DB22-A5A0-FEF4-FE37E9454A6E}"/>
              </a:ext>
            </a:extLst>
          </p:cNvPr>
          <p:cNvSpPr txBox="1"/>
          <p:nvPr/>
        </p:nvSpPr>
        <p:spPr>
          <a:xfrm>
            <a:off x="3272144" y="2824350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dirty="0"/>
              <a:t>2022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6CDAE3D-9C7E-855C-90C8-4385D0DE2268}"/>
              </a:ext>
            </a:extLst>
          </p:cNvPr>
          <p:cNvSpPr txBox="1"/>
          <p:nvPr/>
        </p:nvSpPr>
        <p:spPr>
          <a:xfrm>
            <a:off x="7738894" y="2806128"/>
            <a:ext cx="1191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dirty="0"/>
              <a:t>2023-2024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1289C46-3F8A-1E25-51E2-4064A63B34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1167741">
            <a:off x="8451504" y="1624864"/>
            <a:ext cx="1672306" cy="10406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9F5A741-DF8A-DDF9-19A1-1959E92E21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962568">
            <a:off x="10003204" y="1419309"/>
            <a:ext cx="1607566" cy="107171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38D94BA-03D4-438E-502D-8E528F1EF7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730839">
            <a:off x="9525430" y="2391075"/>
            <a:ext cx="1621277" cy="111304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EEEC520-F00D-8977-40AB-2934F9605C7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0993" t="7819" r="23345" b="13082"/>
          <a:stretch/>
        </p:blipFill>
        <p:spPr>
          <a:xfrm rot="21033489">
            <a:off x="9234245" y="3407903"/>
            <a:ext cx="1448987" cy="1158240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D3612689-7439-6FEA-B6B9-C094B2C5548C}"/>
              </a:ext>
            </a:extLst>
          </p:cNvPr>
          <p:cNvSpPr/>
          <p:nvPr/>
        </p:nvSpPr>
        <p:spPr>
          <a:xfrm>
            <a:off x="400596" y="3656396"/>
            <a:ext cx="984069" cy="57596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E5BCF8D-9FEE-FAB6-53C1-69A68677B32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13434" y="583432"/>
            <a:ext cx="3073269" cy="215355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5888066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  <p:bldP spid="38" grpId="0"/>
      <p:bldP spid="39" grpId="0"/>
      <p:bldP spid="4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FC4525C5-E99C-4727-97E1-40F6156F74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594B9770-0478-679F-F3F2-D1C75DC46649}"/>
              </a:ext>
            </a:extLst>
          </p:cNvPr>
          <p:cNvSpPr/>
          <p:nvPr/>
        </p:nvSpPr>
        <p:spPr>
          <a:xfrm>
            <a:off x="984069" y="2124891"/>
            <a:ext cx="2412274" cy="85344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5C813BB-BDBF-86AD-2B01-E050CA5DABEB}"/>
              </a:ext>
            </a:extLst>
          </p:cNvPr>
          <p:cNvSpPr/>
          <p:nvPr/>
        </p:nvSpPr>
        <p:spPr>
          <a:xfrm>
            <a:off x="3548743" y="2124891"/>
            <a:ext cx="2412274" cy="85344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3557E32-C166-F030-2CF4-743A34E3476C}"/>
              </a:ext>
            </a:extLst>
          </p:cNvPr>
          <p:cNvSpPr/>
          <p:nvPr/>
        </p:nvSpPr>
        <p:spPr>
          <a:xfrm>
            <a:off x="8926293" y="2111826"/>
            <a:ext cx="2412274" cy="85344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0405B71-B16A-514C-0D12-E46C3FAEA528}"/>
              </a:ext>
            </a:extLst>
          </p:cNvPr>
          <p:cNvSpPr/>
          <p:nvPr/>
        </p:nvSpPr>
        <p:spPr>
          <a:xfrm>
            <a:off x="6322423" y="3191692"/>
            <a:ext cx="2412274" cy="85344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8C3A60F-8B94-D4A1-DF96-4FBEE95A7D06}"/>
              </a:ext>
            </a:extLst>
          </p:cNvPr>
          <p:cNvSpPr/>
          <p:nvPr/>
        </p:nvSpPr>
        <p:spPr>
          <a:xfrm>
            <a:off x="3683725" y="3191692"/>
            <a:ext cx="2412274" cy="85344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0759407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23D9253-8DC7-1084-2CC0-F9879BFD02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7418"/>
            <a:ext cx="12192000" cy="6858000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546E5C7F-19B8-1710-9D84-1583BEB75DFB}"/>
              </a:ext>
            </a:extLst>
          </p:cNvPr>
          <p:cNvSpPr/>
          <p:nvPr/>
        </p:nvSpPr>
        <p:spPr>
          <a:xfrm>
            <a:off x="1027612" y="2172790"/>
            <a:ext cx="2412274" cy="85344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B427D69-01A5-EA4B-C29C-D1CD9A75C1D2}"/>
              </a:ext>
            </a:extLst>
          </p:cNvPr>
          <p:cNvSpPr/>
          <p:nvPr/>
        </p:nvSpPr>
        <p:spPr>
          <a:xfrm>
            <a:off x="6239690" y="4432671"/>
            <a:ext cx="2412274" cy="85344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9BC12ED-7B5A-227D-DA28-D4348FA3DED5}"/>
              </a:ext>
            </a:extLst>
          </p:cNvPr>
          <p:cNvSpPr/>
          <p:nvPr/>
        </p:nvSpPr>
        <p:spPr>
          <a:xfrm>
            <a:off x="1049367" y="3265717"/>
            <a:ext cx="2412274" cy="85344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2286851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5D7A03BA-F126-4703-866F-AFD99E239E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6644052"/>
              </p:ext>
            </p:extLst>
          </p:nvPr>
        </p:nvGraphicFramePr>
        <p:xfrm>
          <a:off x="709366" y="1216057"/>
          <a:ext cx="11102420" cy="47511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339B2588-6143-4CD1-BA17-AC172FCF9679}"/>
              </a:ext>
            </a:extLst>
          </p:cNvPr>
          <p:cNvSpPr txBox="1"/>
          <p:nvPr/>
        </p:nvSpPr>
        <p:spPr>
          <a:xfrm>
            <a:off x="570648" y="268260"/>
            <a:ext cx="661097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000" b="1" dirty="0">
                <a:solidFill>
                  <a:srgbClr val="006666"/>
                </a:solidFill>
              </a:rPr>
              <a:t>4 conditions to make it work…</a:t>
            </a:r>
            <a:endParaRPr lang="en-BE" sz="4000" b="1" dirty="0">
              <a:solidFill>
                <a:srgbClr val="00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5049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1106328-DE78-4295-ACC6-016AECBF66C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BD1B06E-3DFD-4DFF-A277-5C0CEAF70A2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7E13BE0-8640-4D58-B3EE-787934E6994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ACD7C56-4D5B-43ED-9FDD-5EFA24A7990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1E2EBC6-E501-4444-9934-B17DEE1238E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7079683-D40F-432A-94F9-917E4364377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FAD5A39-FFC6-4ECE-AFF4-981D67A6EA3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8CD114D-7CE2-4323-8372-3B599F44DB0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Dgm bld="one"/>
        </p:bldSub>
      </p:bldGraphic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2AE539-6272-6AF3-E436-09A9385C7D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619" y="290090"/>
            <a:ext cx="10515600" cy="1325563"/>
          </a:xfrm>
        </p:spPr>
        <p:txBody>
          <a:bodyPr>
            <a:normAutofit/>
          </a:bodyPr>
          <a:lstStyle/>
          <a:p>
            <a:r>
              <a:rPr lang="fr-BE" sz="4000" b="1" dirty="0">
                <a:solidFill>
                  <a:srgbClr val="006666"/>
                </a:solidFill>
                <a:latin typeface="+mn-lt"/>
              </a:rPr>
              <a:t>Focus on </a:t>
            </a:r>
            <a:r>
              <a:rPr lang="fr-BE" sz="4000" b="1" dirty="0" err="1">
                <a:solidFill>
                  <a:srgbClr val="006666"/>
                </a:solidFill>
                <a:latin typeface="+mn-lt"/>
              </a:rPr>
              <a:t>implementation</a:t>
            </a:r>
            <a:endParaRPr lang="fr-BE" sz="4000" b="1" dirty="0">
              <a:solidFill>
                <a:srgbClr val="006666"/>
              </a:solidFill>
              <a:latin typeface="+mn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E7F8B93-BB32-4C7F-DFF5-FE56B1CD29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1152" y="2452558"/>
            <a:ext cx="3682303" cy="61574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3786633-0430-6F17-FA7F-A98BFEAD08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5881" y="3789694"/>
            <a:ext cx="2569552" cy="218671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BF47649-7F89-A0AD-B98F-630F85322F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0851" y="2768118"/>
            <a:ext cx="2470297" cy="260699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AC9CA26-77F4-3498-7B7E-97A81FC53B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43252" y="2084666"/>
            <a:ext cx="2196967" cy="165504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A404328-D578-522A-14E0-0AA613F971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14439" y="4719082"/>
            <a:ext cx="2847975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9209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6592B82-7241-4E16-79D9-EA539A7293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2450" y="813013"/>
            <a:ext cx="4747099" cy="4733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6699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C7BB89B-40F7-749B-1078-698183B447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534" y="106004"/>
            <a:ext cx="1661464" cy="1656810"/>
          </a:xfrm>
          <a:prstGeom prst="rect">
            <a:avLst/>
          </a:prstGeom>
        </p:spPr>
      </p:pic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7BC0EDC-EB2E-5926-A944-FE48EF9649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3646586"/>
              </p:ext>
            </p:extLst>
          </p:nvPr>
        </p:nvGraphicFramePr>
        <p:xfrm>
          <a:off x="2032000" y="-91039"/>
          <a:ext cx="8921946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DC77969-2223-E52B-9F48-274716928886}"/>
              </a:ext>
            </a:extLst>
          </p:cNvPr>
          <p:cNvSpPr txBox="1"/>
          <p:nvPr/>
        </p:nvSpPr>
        <p:spPr>
          <a:xfrm>
            <a:off x="4628560" y="4308050"/>
            <a:ext cx="4315797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2400" dirty="0">
                <a:latin typeface="Aptos" panose="020B0004020202020204" pitchFamily="34" charset="0"/>
              </a:rPr>
              <a:t>Green Deal vs Industrial Deal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2400" dirty="0">
                <a:latin typeface="Aptos" panose="020B0004020202020204" pitchFamily="34" charset="0"/>
              </a:rPr>
              <a:t>Migr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2400" dirty="0">
                <a:latin typeface="Aptos" panose="020B0004020202020204" pitchFamily="34" charset="0"/>
              </a:rPr>
              <a:t>EU Enlargement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2400" dirty="0">
                <a:latin typeface="Aptos" panose="020B0004020202020204" pitchFamily="34" charset="0"/>
              </a:rPr>
              <a:t>Defence Strategy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2400" dirty="0">
                <a:latin typeface="Aptos" panose="020B0004020202020204" pitchFamily="34" charset="0"/>
              </a:rPr>
              <a:t>Single Market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2400" dirty="0">
                <a:latin typeface="Aptos" panose="020B0004020202020204" pitchFamily="34" charset="0"/>
              </a:rPr>
              <a:t>…</a:t>
            </a:r>
            <a:endParaRPr lang="en-BE" sz="2400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39846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0" y="0"/>
            <a:ext cx="5193259" cy="7099859"/>
          </a:xfrm>
          <a:prstGeom prst="rect">
            <a:avLst/>
          </a:prstGeom>
          <a:solidFill>
            <a:srgbClr val="E3D712"/>
          </a:solidFill>
        </p:spPr>
        <p:txBody>
          <a:bodyPr/>
          <a:lstStyle/>
          <a:p>
            <a:endParaRPr lang="en-BE" sz="1200"/>
          </a:p>
        </p:txBody>
      </p:sp>
      <p:sp>
        <p:nvSpPr>
          <p:cNvPr id="3" name="Freeform 3"/>
          <p:cNvSpPr/>
          <p:nvPr/>
        </p:nvSpPr>
        <p:spPr>
          <a:xfrm>
            <a:off x="4381717" y="3051946"/>
            <a:ext cx="7124483" cy="3120254"/>
          </a:xfrm>
          <a:custGeom>
            <a:avLst/>
            <a:gdLst/>
            <a:ahLst/>
            <a:cxnLst/>
            <a:rect l="l" t="t" r="r" b="b"/>
            <a:pathLst>
              <a:path w="10686725" h="4680381">
                <a:moveTo>
                  <a:pt x="0" y="0"/>
                </a:moveTo>
                <a:lnTo>
                  <a:pt x="10686725" y="0"/>
                </a:lnTo>
                <a:lnTo>
                  <a:pt x="10686725" y="4680381"/>
                </a:lnTo>
                <a:lnTo>
                  <a:pt x="0" y="4680381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l="-23552" t="-74721" r="-22086" b="-46832"/>
            </a:stretch>
          </a:blipFill>
        </p:spPr>
        <p:txBody>
          <a:bodyPr/>
          <a:lstStyle/>
          <a:p>
            <a:endParaRPr lang="en-BE" sz="1200"/>
          </a:p>
        </p:txBody>
      </p:sp>
      <p:sp>
        <p:nvSpPr>
          <p:cNvPr id="4" name="Freeform 4"/>
          <p:cNvSpPr/>
          <p:nvPr/>
        </p:nvSpPr>
        <p:spPr>
          <a:xfrm>
            <a:off x="6827636" y="685800"/>
            <a:ext cx="2253529" cy="2240014"/>
          </a:xfrm>
          <a:custGeom>
            <a:avLst/>
            <a:gdLst/>
            <a:ahLst/>
            <a:cxnLst/>
            <a:rect l="l" t="t" r="r" b="b"/>
            <a:pathLst>
              <a:path w="3380294" h="3360021">
                <a:moveTo>
                  <a:pt x="0" y="0"/>
                </a:moveTo>
                <a:lnTo>
                  <a:pt x="3380294" y="0"/>
                </a:lnTo>
                <a:lnTo>
                  <a:pt x="3380294" y="3360021"/>
                </a:lnTo>
                <a:lnTo>
                  <a:pt x="0" y="3360021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l="-32065" r="-44645"/>
            </a:stretch>
          </a:blipFill>
        </p:spPr>
        <p:txBody>
          <a:bodyPr/>
          <a:lstStyle/>
          <a:p>
            <a:endParaRPr lang="en-BE" sz="1200"/>
          </a:p>
        </p:txBody>
      </p:sp>
      <p:sp>
        <p:nvSpPr>
          <p:cNvPr id="5" name="TextBox 5"/>
          <p:cNvSpPr txBox="1"/>
          <p:nvPr/>
        </p:nvSpPr>
        <p:spPr>
          <a:xfrm>
            <a:off x="685800" y="3432340"/>
            <a:ext cx="3042332" cy="118417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519"/>
              </a:lnSpc>
            </a:pPr>
            <a:r>
              <a:rPr lang="en-US" sz="4757">
                <a:solidFill>
                  <a:srgbClr val="125D67"/>
                </a:solidFill>
                <a:latin typeface="DM Sans"/>
              </a:rPr>
              <a:t>EURATEX Manifesto </a:t>
            </a:r>
          </a:p>
        </p:txBody>
      </p:sp>
      <p:sp>
        <p:nvSpPr>
          <p:cNvPr id="6" name="TextBox 6"/>
          <p:cNvSpPr txBox="1"/>
          <p:nvPr/>
        </p:nvSpPr>
        <p:spPr>
          <a:xfrm>
            <a:off x="685800" y="4780450"/>
            <a:ext cx="3291334" cy="128625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966"/>
              </a:lnSpc>
            </a:pPr>
            <a:r>
              <a:rPr lang="en-US" sz="1855" spc="74">
                <a:solidFill>
                  <a:srgbClr val="125D67"/>
                </a:solidFill>
                <a:latin typeface="DM Sans"/>
              </a:rPr>
              <a:t>Recommendations </a:t>
            </a:r>
          </a:p>
          <a:p>
            <a:pPr>
              <a:lnSpc>
                <a:spcPts val="1966"/>
              </a:lnSpc>
            </a:pPr>
            <a:r>
              <a:rPr lang="en-US" sz="1855" spc="74">
                <a:solidFill>
                  <a:srgbClr val="125D67"/>
                </a:solidFill>
                <a:latin typeface="DM Sans"/>
              </a:rPr>
              <a:t>from the European textiles</a:t>
            </a:r>
          </a:p>
          <a:p>
            <a:pPr>
              <a:lnSpc>
                <a:spcPts val="1966"/>
              </a:lnSpc>
            </a:pPr>
            <a:r>
              <a:rPr lang="en-US" sz="1855" spc="74">
                <a:solidFill>
                  <a:srgbClr val="125D67"/>
                </a:solidFill>
                <a:latin typeface="DM Sans"/>
              </a:rPr>
              <a:t>and apparel industry </a:t>
            </a:r>
          </a:p>
          <a:p>
            <a:pPr>
              <a:lnSpc>
                <a:spcPts val="1966"/>
              </a:lnSpc>
            </a:pPr>
            <a:r>
              <a:rPr lang="en-US" sz="1855" spc="74">
                <a:solidFill>
                  <a:srgbClr val="125D67"/>
                </a:solidFill>
                <a:latin typeface="DM Sans"/>
              </a:rPr>
              <a:t>for the European elections </a:t>
            </a:r>
          </a:p>
          <a:p>
            <a:pPr>
              <a:lnSpc>
                <a:spcPts val="1966"/>
              </a:lnSpc>
            </a:pPr>
            <a:r>
              <a:rPr lang="en-US" sz="1855" spc="74">
                <a:solidFill>
                  <a:srgbClr val="125D67"/>
                </a:solidFill>
                <a:latin typeface="DM Sans"/>
              </a:rPr>
              <a:t>of June 2024</a:t>
            </a:r>
          </a:p>
        </p:txBody>
      </p:sp>
      <p:sp>
        <p:nvSpPr>
          <p:cNvPr id="7" name="Freeform 7"/>
          <p:cNvSpPr/>
          <p:nvPr/>
        </p:nvSpPr>
        <p:spPr>
          <a:xfrm>
            <a:off x="9252671" y="685800"/>
            <a:ext cx="2253529" cy="2240014"/>
          </a:xfrm>
          <a:custGeom>
            <a:avLst/>
            <a:gdLst/>
            <a:ahLst/>
            <a:cxnLst/>
            <a:rect l="l" t="t" r="r" b="b"/>
            <a:pathLst>
              <a:path w="3380294" h="3360021">
                <a:moveTo>
                  <a:pt x="0" y="0"/>
                </a:moveTo>
                <a:lnTo>
                  <a:pt x="3380294" y="0"/>
                </a:lnTo>
                <a:lnTo>
                  <a:pt x="3380294" y="3360021"/>
                </a:lnTo>
                <a:lnTo>
                  <a:pt x="0" y="3360021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l="-47504" t="-4898" r="-16304" b="-4898"/>
            </a:stretch>
          </a:blipFill>
        </p:spPr>
        <p:txBody>
          <a:bodyPr/>
          <a:lstStyle/>
          <a:p>
            <a:endParaRPr lang="en-BE" sz="1200"/>
          </a:p>
        </p:txBody>
      </p:sp>
      <p:sp>
        <p:nvSpPr>
          <p:cNvPr id="8" name="Freeform 8"/>
          <p:cNvSpPr/>
          <p:nvPr/>
        </p:nvSpPr>
        <p:spPr>
          <a:xfrm>
            <a:off x="4381717" y="685800"/>
            <a:ext cx="2274414" cy="2240014"/>
          </a:xfrm>
          <a:custGeom>
            <a:avLst/>
            <a:gdLst/>
            <a:ahLst/>
            <a:cxnLst/>
            <a:rect l="l" t="t" r="r" b="b"/>
            <a:pathLst>
              <a:path w="3411621" h="3360021">
                <a:moveTo>
                  <a:pt x="0" y="0"/>
                </a:moveTo>
                <a:lnTo>
                  <a:pt x="3411621" y="0"/>
                </a:lnTo>
                <a:lnTo>
                  <a:pt x="3411621" y="3360021"/>
                </a:lnTo>
                <a:lnTo>
                  <a:pt x="0" y="3360021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l="-56013" t="-2770" b="-2770"/>
            </a:stretch>
          </a:blipFill>
        </p:spPr>
        <p:txBody>
          <a:bodyPr/>
          <a:lstStyle/>
          <a:p>
            <a:endParaRPr lang="en-BE" sz="120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34E7D7FB-5A1D-4253-93B2-FD6BC19DA5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34E7D7FB-5A1D-4253-93B2-FD6BC19DA5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943E549-17F7-CF5D-309D-40035AB69A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1026" y="0"/>
            <a:ext cx="5230974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FCEE8B8-F4F0-FA98-0D55-1C146125E8D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9700" y="0"/>
            <a:ext cx="452886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1564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ED958EC-3BBC-4CC8-9672-7C924078FF58}"/>
              </a:ext>
            </a:extLst>
          </p:cNvPr>
          <p:cNvSpPr txBox="1">
            <a:spLocks/>
          </p:cNvSpPr>
          <p:nvPr/>
        </p:nvSpPr>
        <p:spPr>
          <a:xfrm>
            <a:off x="2109694" y="3027809"/>
            <a:ext cx="7972611" cy="120592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400" b="1" dirty="0">
                <a:solidFill>
                  <a:schemeClr val="accent4">
                    <a:lumMod val="50000"/>
                  </a:schemeClr>
                </a:solidFill>
              </a:rPr>
              <a:t>Thank You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CA9A3BB-6794-4BDA-8696-87BBAAB6F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6546706" cy="262426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225F971-0A11-B31A-AE9D-DEC141BA8AC4}"/>
              </a:ext>
            </a:extLst>
          </p:cNvPr>
          <p:cNvSpPr txBox="1"/>
          <p:nvPr/>
        </p:nvSpPr>
        <p:spPr>
          <a:xfrm>
            <a:off x="4764576" y="6202838"/>
            <a:ext cx="26628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>
                <a:solidFill>
                  <a:srgbClr val="39909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euratex.eu</a:t>
            </a:r>
            <a:r>
              <a:rPr lang="en-GB" sz="2800" dirty="0">
                <a:solidFill>
                  <a:srgbClr val="399091"/>
                </a:solidFill>
              </a:rPr>
              <a:t> </a:t>
            </a:r>
            <a:endParaRPr lang="en-BE" sz="2800" dirty="0">
              <a:solidFill>
                <a:srgbClr val="3990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3627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132F102-4AC7-E0D6-F872-6DA1096C66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20196" y="1712489"/>
            <a:ext cx="3933536" cy="2761698"/>
          </a:xfrm>
          <a:prstGeom prst="rect">
            <a:avLst/>
          </a:prstGeom>
        </p:spPr>
      </p:pic>
      <p:sp>
        <p:nvSpPr>
          <p:cNvPr id="15" name="Arrow: Left-Right 14">
            <a:extLst>
              <a:ext uri="{FF2B5EF4-FFF2-40B4-BE49-F238E27FC236}">
                <a16:creationId xmlns:a16="http://schemas.microsoft.com/office/drawing/2014/main" id="{4E3F3CD5-EF6A-25FE-6BF0-6B44F4B85DF0}"/>
              </a:ext>
            </a:extLst>
          </p:cNvPr>
          <p:cNvSpPr/>
          <p:nvPr/>
        </p:nvSpPr>
        <p:spPr>
          <a:xfrm>
            <a:off x="5175315" y="2855957"/>
            <a:ext cx="1046370" cy="339730"/>
          </a:xfrm>
          <a:prstGeom prst="left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EF7C2AB-8A68-56AC-0378-C9A648E4065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5978"/>
          <a:stretch/>
        </p:blipFill>
        <p:spPr>
          <a:xfrm>
            <a:off x="1796135" y="1582769"/>
            <a:ext cx="2618025" cy="287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0447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>
            <a:extLst>
              <a:ext uri="{FF2B5EF4-FFF2-40B4-BE49-F238E27FC236}">
                <a16:creationId xmlns:a16="http://schemas.microsoft.com/office/drawing/2014/main" id="{036972FC-6577-476B-9008-8962C3E3C7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6086" y="2692838"/>
            <a:ext cx="1186397" cy="451961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E25FA443-2C0C-47B0-B050-9D8FAC2AB07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1515" y="5370532"/>
            <a:ext cx="1930837" cy="38616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45A425E1-7354-4CD6-9F19-A34C52EDB3D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666"/>
          <a:stretch/>
        </p:blipFill>
        <p:spPr>
          <a:xfrm>
            <a:off x="2735743" y="1026679"/>
            <a:ext cx="794633" cy="779931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2D5ABBC3-A3E3-4118-AB91-7A1EEC2E782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805"/>
          <a:stretch/>
        </p:blipFill>
        <p:spPr>
          <a:xfrm>
            <a:off x="4026136" y="977112"/>
            <a:ext cx="1620514" cy="690258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D31716B8-C5B2-4707-BBEA-A5648C6E45E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1668" y="1101301"/>
            <a:ext cx="950542" cy="570325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3462793E-64D5-47D6-9C71-3C240EA6D4A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5933" y="1948044"/>
            <a:ext cx="1260193" cy="594911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41321577-BA80-4DCB-84CA-E73FB128E3B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7612"/>
          <a:stretch/>
        </p:blipFill>
        <p:spPr>
          <a:xfrm>
            <a:off x="1746102" y="3392777"/>
            <a:ext cx="932672" cy="812085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AF439D88-FFF9-430A-91F5-6A79AEE5308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3151" y="2583167"/>
            <a:ext cx="1490516" cy="534051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46D8E2D9-043F-45DA-AB31-8795BA894AA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0931" y="1904745"/>
            <a:ext cx="696837" cy="615035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2B4DB658-7941-4157-9858-FAA27C2796B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3422" y="2740619"/>
            <a:ext cx="1817698" cy="324812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3B5729E1-2A3F-4752-8E8C-11BA02B7A7A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4275" y="4258239"/>
            <a:ext cx="1311715" cy="689018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553BBF4F-5F7D-4FFC-B1DD-F4195D4F34AD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6985" y="4245168"/>
            <a:ext cx="1058062" cy="701336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EBFF2264-2490-40C0-B8B3-533990B1D778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7706" y="4286021"/>
            <a:ext cx="829824" cy="506260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ECA0ECDF-2935-4C74-AB17-250CC7BACF5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9134" y="3510495"/>
            <a:ext cx="1641943" cy="492815"/>
          </a:xfrm>
          <a:prstGeom prst="rect">
            <a:avLst/>
          </a:prstGeom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4328B939-32C8-4B8C-AAE5-26EBF0D5B692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694"/>
          <a:stretch/>
        </p:blipFill>
        <p:spPr>
          <a:xfrm>
            <a:off x="1839279" y="2699151"/>
            <a:ext cx="794284" cy="425033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4C069D74-B044-47BD-8568-A00A5E86E4C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0037" y="1958809"/>
            <a:ext cx="1086488" cy="517149"/>
          </a:xfrm>
          <a:prstGeom prst="rect">
            <a:avLst/>
          </a:prstGeom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13A7F5B4-E6AF-4FB6-BF73-7BCB64F46DDD}"/>
              </a:ext>
            </a:extLst>
          </p:cNvPr>
          <p:cNvSpPr txBox="1"/>
          <p:nvPr/>
        </p:nvSpPr>
        <p:spPr>
          <a:xfrm>
            <a:off x="506176" y="163346"/>
            <a:ext cx="824828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3200" b="1" dirty="0">
                <a:solidFill>
                  <a:srgbClr val="006666"/>
                </a:solidFill>
                <a:latin typeface="+mj-lt"/>
                <a:ea typeface="Open Sans Condensed" panose="020B0806030504020204" pitchFamily="34" charset="0"/>
                <a:cs typeface="Open Sans Condensed" panose="020B0806030504020204" pitchFamily="34" charset="0"/>
              </a:rPr>
              <a:t>EURATEX Membership  – 30 Full </a:t>
            </a:r>
            <a:r>
              <a:rPr lang="it-IT" sz="3200" b="1" dirty="0" err="1">
                <a:solidFill>
                  <a:srgbClr val="006666"/>
                </a:solidFill>
                <a:latin typeface="+mj-lt"/>
                <a:ea typeface="Open Sans Condensed" panose="020B0806030504020204" pitchFamily="34" charset="0"/>
                <a:cs typeface="Open Sans Condensed" panose="020B0806030504020204" pitchFamily="34" charset="0"/>
              </a:rPr>
              <a:t>Members</a:t>
            </a:r>
            <a:r>
              <a:rPr lang="it-IT" sz="3200" b="1" dirty="0">
                <a:solidFill>
                  <a:srgbClr val="006666"/>
                </a:solidFill>
                <a:latin typeface="+mj-lt"/>
                <a:ea typeface="Open Sans Condensed" panose="020B0806030504020204" pitchFamily="34" charset="0"/>
                <a:cs typeface="Open Sans Condensed" panose="020B0806030504020204" pitchFamily="34" charset="0"/>
              </a:rPr>
              <a:t> </a:t>
            </a:r>
            <a:endParaRPr lang="en-BE" sz="3200" b="1" dirty="0">
              <a:latin typeface="+mj-lt"/>
            </a:endParaRPr>
          </a:p>
        </p:txBody>
      </p:sp>
      <p:pic>
        <p:nvPicPr>
          <p:cNvPr id="87" name="Picture 86" descr="Logo&#10;&#10;Description automatically generated">
            <a:extLst>
              <a:ext uri="{FF2B5EF4-FFF2-40B4-BE49-F238E27FC236}">
                <a16:creationId xmlns:a16="http://schemas.microsoft.com/office/drawing/2014/main" id="{7546480D-610D-44D6-9118-50F89C0D59E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3151" y="4353155"/>
            <a:ext cx="1393911" cy="471826"/>
          </a:xfrm>
          <a:prstGeom prst="rect">
            <a:avLst/>
          </a:prstGeom>
        </p:spPr>
      </p:pic>
      <p:pic>
        <p:nvPicPr>
          <p:cNvPr id="89" name="Picture 5" descr="Icon&#10;&#10;Description automatically generated">
            <a:extLst>
              <a:ext uri="{FF2B5EF4-FFF2-40B4-BE49-F238E27FC236}">
                <a16:creationId xmlns:a16="http://schemas.microsoft.com/office/drawing/2014/main" id="{405CB0BE-51AE-4611-8B29-D02282683F7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1515" y="2874641"/>
            <a:ext cx="1574800" cy="190790"/>
          </a:xfrm>
          <a:prstGeom prst="rect">
            <a:avLst/>
          </a:prstGeom>
        </p:spPr>
      </p:pic>
      <p:pic>
        <p:nvPicPr>
          <p:cNvPr id="90" name="Graphic 89">
            <a:extLst>
              <a:ext uri="{FF2B5EF4-FFF2-40B4-BE49-F238E27FC236}">
                <a16:creationId xmlns:a16="http://schemas.microsoft.com/office/drawing/2014/main" id="{8681DDFC-EAB8-4EDD-927F-E11D3EDF7034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522342" y="1207009"/>
            <a:ext cx="1171325" cy="392552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1616DBFB-E588-41FD-AAA0-E180BBE0764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1299" y="3547108"/>
            <a:ext cx="1641943" cy="339024"/>
          </a:xfrm>
          <a:prstGeom prst="rect">
            <a:avLst/>
          </a:prstGeom>
        </p:spPr>
      </p:pic>
      <p:pic>
        <p:nvPicPr>
          <p:cNvPr id="93" name="Picture 92" descr="Diagram&#10;&#10;Description automatically generated">
            <a:extLst>
              <a:ext uri="{FF2B5EF4-FFF2-40B4-BE49-F238E27FC236}">
                <a16:creationId xmlns:a16="http://schemas.microsoft.com/office/drawing/2014/main" id="{7EDBB3AC-C653-4701-8C24-4DBF55A42501}"/>
              </a:ext>
            </a:extLst>
          </p:cNvPr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56086" y="5294724"/>
            <a:ext cx="893998" cy="6689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C5A69F1-579A-4364-AB7D-BE4D2BEAF5D3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698" y="989886"/>
            <a:ext cx="840677" cy="655622"/>
          </a:xfrm>
          <a:prstGeom prst="rect">
            <a:avLst/>
          </a:prstGeom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19D59B67-8FF3-4BDA-B12D-1FBA1A0FE7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4012" y="4287902"/>
            <a:ext cx="1125956" cy="689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384CD1DC-9C08-429B-85B4-8D3CFACB4C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3726" y="1075068"/>
            <a:ext cx="1028431" cy="604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AFCC358-5892-14DC-2646-752E02C3C6C2}"/>
              </a:ext>
            </a:extLst>
          </p:cNvPr>
          <p:cNvPicPr>
            <a:picLocks noChangeAspect="1"/>
          </p:cNvPicPr>
          <p:nvPr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53311" y="3486423"/>
            <a:ext cx="1772698" cy="54096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77F6E2C-05E4-67FC-AE59-477033A1F280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8044" y="1981106"/>
            <a:ext cx="1950766" cy="409661"/>
          </a:xfrm>
          <a:prstGeom prst="rect">
            <a:avLst/>
          </a:prstGeom>
          <a:solidFill>
            <a:schemeClr val="tx2"/>
          </a:solidFill>
        </p:spPr>
      </p:pic>
      <p:pic>
        <p:nvPicPr>
          <p:cNvPr id="3" name="Picture 2" descr="A close-up of a logo&#10;&#10;Description automatically generated">
            <a:extLst>
              <a:ext uri="{FF2B5EF4-FFF2-40B4-BE49-F238E27FC236}">
                <a16:creationId xmlns:a16="http://schemas.microsoft.com/office/drawing/2014/main" id="{E1406C4D-B70B-A120-2708-C204351E759F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7270" y="5336122"/>
            <a:ext cx="2247699" cy="586180"/>
          </a:xfrm>
          <a:prstGeom prst="rect">
            <a:avLst/>
          </a:prstGeom>
        </p:spPr>
      </p:pic>
      <p:pic>
        <p:nvPicPr>
          <p:cNvPr id="5" name="Picture 4" descr="A blue and white logo&#10;&#10;Description automatically generated">
            <a:extLst>
              <a:ext uri="{FF2B5EF4-FFF2-40B4-BE49-F238E27FC236}">
                <a16:creationId xmlns:a16="http://schemas.microsoft.com/office/drawing/2014/main" id="{3A404B0E-1832-9E4E-5D58-C838C179361A}"/>
              </a:ext>
            </a:extLst>
          </p:cNvPr>
          <p:cNvPicPr>
            <a:picLocks noChangeAspect="1"/>
          </p:cNvPicPr>
          <p:nvPr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19" t="31862" r="6439" b="31256"/>
          <a:stretch/>
        </p:blipFill>
        <p:spPr>
          <a:xfrm>
            <a:off x="7303435" y="1947213"/>
            <a:ext cx="1817698" cy="563093"/>
          </a:xfrm>
          <a:prstGeom prst="rect">
            <a:avLst/>
          </a:prstGeom>
        </p:spPr>
      </p:pic>
      <p:pic>
        <p:nvPicPr>
          <p:cNvPr id="7" name="Picture 6" descr="A red text on a white background&#10;&#10;Description automatically generated">
            <a:extLst>
              <a:ext uri="{FF2B5EF4-FFF2-40B4-BE49-F238E27FC236}">
                <a16:creationId xmlns:a16="http://schemas.microsoft.com/office/drawing/2014/main" id="{51AC562A-ACC1-5B77-2F07-A649CF56EABF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618" y="3496581"/>
            <a:ext cx="1222440" cy="44007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E845B91-6533-452A-AAE5-2E2D61F90217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3969237" y="1820526"/>
            <a:ext cx="1284764" cy="765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3319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>
            <a:extLst>
              <a:ext uri="{FF2B5EF4-FFF2-40B4-BE49-F238E27FC236}">
                <a16:creationId xmlns:a16="http://schemas.microsoft.com/office/drawing/2014/main" id="{B1768044-4654-4267-8F1D-159DF4CB955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1570" y="3422155"/>
            <a:ext cx="1643891" cy="628073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97C8659B-BFFD-4F42-9797-1D1B31A5EB6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2452" y="3257328"/>
            <a:ext cx="1323034" cy="904461"/>
          </a:xfrm>
          <a:prstGeom prst="rect">
            <a:avLst/>
          </a:prstGeom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13A7F5B4-E6AF-4FB6-BF73-7BCB64F46DDD}"/>
              </a:ext>
            </a:extLst>
          </p:cNvPr>
          <p:cNvSpPr txBox="1"/>
          <p:nvPr/>
        </p:nvSpPr>
        <p:spPr>
          <a:xfrm>
            <a:off x="452541" y="270021"/>
            <a:ext cx="1131954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3200" b="1" dirty="0">
                <a:solidFill>
                  <a:srgbClr val="006666"/>
                </a:solidFill>
                <a:latin typeface="+mj-lt"/>
                <a:ea typeface="Open Sans Condensed" panose="020B0806030504020204" pitchFamily="34" charset="0"/>
                <a:cs typeface="Open Sans Condensed" panose="020B0806030504020204" pitchFamily="34" charset="0"/>
              </a:rPr>
              <a:t>EURATEX Membership  – 10 Corresponding Members &amp; 6 Partners</a:t>
            </a:r>
            <a:endParaRPr lang="en-BE" sz="3200" b="1" dirty="0">
              <a:latin typeface="+mj-lt"/>
            </a:endParaRPr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E0BB266E-FFF4-44BA-BE21-B74E4CC70E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6948" y="2258424"/>
            <a:ext cx="1516397" cy="673227"/>
          </a:xfrm>
          <a:prstGeom prst="rect">
            <a:avLst/>
          </a:prstGeom>
        </p:spPr>
      </p:pic>
      <p:pic>
        <p:nvPicPr>
          <p:cNvPr id="94" name="Picture 14">
            <a:extLst>
              <a:ext uri="{FF2B5EF4-FFF2-40B4-BE49-F238E27FC236}">
                <a16:creationId xmlns:a16="http://schemas.microsoft.com/office/drawing/2014/main" id="{26DF3774-ED93-40F8-9E66-098E45708D2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973" y="2405037"/>
            <a:ext cx="1186846" cy="771781"/>
          </a:xfrm>
          <a:prstGeom prst="rect">
            <a:avLst/>
          </a:prstGeom>
        </p:spPr>
      </p:pic>
      <p:pic>
        <p:nvPicPr>
          <p:cNvPr id="2058" name="Picture 10">
            <a:extLst>
              <a:ext uri="{FF2B5EF4-FFF2-40B4-BE49-F238E27FC236}">
                <a16:creationId xmlns:a16="http://schemas.microsoft.com/office/drawing/2014/main" id="{5D764B2B-192A-478C-A120-F1F70AA010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9253" y="3282485"/>
            <a:ext cx="1674092" cy="737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1B30191-1F0F-CD43-EA27-46825C2EC4E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080" y="2558360"/>
            <a:ext cx="1950765" cy="30296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7B89783-7203-EF38-6EFD-F71B7F35F4D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3975" y="4469675"/>
            <a:ext cx="1922972" cy="456705"/>
          </a:xfrm>
          <a:prstGeom prst="rect">
            <a:avLst/>
          </a:prstGeom>
        </p:spPr>
      </p:pic>
      <p:pic>
        <p:nvPicPr>
          <p:cNvPr id="7" name="Picture 6" descr="A close-up of a logo&#10;&#10;Description automatically generated">
            <a:extLst>
              <a:ext uri="{FF2B5EF4-FFF2-40B4-BE49-F238E27FC236}">
                <a16:creationId xmlns:a16="http://schemas.microsoft.com/office/drawing/2014/main" id="{EF91ED88-EDE8-D1DE-123E-62A2603EC38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662" y="1311793"/>
            <a:ext cx="2085602" cy="60897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1B9E825-8612-B98C-FB77-A3FC5A4F944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40048" y="1095856"/>
            <a:ext cx="1866295" cy="104862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F53DD753-9A60-4C89-A6E6-5364DD2F0517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2997" y="4362995"/>
            <a:ext cx="1923568" cy="70875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4EA0753-DC11-7E32-F051-15B46833699C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7205" y="2187369"/>
            <a:ext cx="2468864" cy="486523"/>
          </a:xfrm>
          <a:prstGeom prst="rect">
            <a:avLst/>
          </a:prstGeom>
        </p:spPr>
      </p:pic>
      <p:pic>
        <p:nvPicPr>
          <p:cNvPr id="4" name="Picture 5" descr="Logo&#10;&#10;Description automatically generated">
            <a:extLst>
              <a:ext uri="{FF2B5EF4-FFF2-40B4-BE49-F238E27FC236}">
                <a16:creationId xmlns:a16="http://schemas.microsoft.com/office/drawing/2014/main" id="{44143FCD-7316-BEEF-B8F2-90B8D50AFB1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0017" y="2430630"/>
            <a:ext cx="1726008" cy="229947"/>
          </a:xfrm>
          <a:prstGeom prst="rect">
            <a:avLst/>
          </a:prstGeom>
        </p:spPr>
      </p:pic>
      <p:pic>
        <p:nvPicPr>
          <p:cNvPr id="8" name="Picture 12">
            <a:extLst>
              <a:ext uri="{FF2B5EF4-FFF2-40B4-BE49-F238E27FC236}">
                <a16:creationId xmlns:a16="http://schemas.microsoft.com/office/drawing/2014/main" id="{47006BC4-313A-C8D5-467F-07D17EBCC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3340" y="3497165"/>
            <a:ext cx="1533369" cy="360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69503C4-22E2-9A25-3BFE-C30A1FAB7C3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9902" y="1464335"/>
            <a:ext cx="1824744" cy="229947"/>
          </a:xfrm>
          <a:prstGeom prst="rect">
            <a:avLst/>
          </a:prstGeom>
        </p:spPr>
      </p:pic>
      <p:pic>
        <p:nvPicPr>
          <p:cNvPr id="11" name="Picture 10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78543B3D-DBF2-4F99-282F-AA4324F2BF1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0956" y="1239852"/>
            <a:ext cx="2431740" cy="678915"/>
          </a:xfrm>
          <a:prstGeom prst="rect">
            <a:avLst/>
          </a:prstGeom>
        </p:spPr>
      </p:pic>
      <p:pic>
        <p:nvPicPr>
          <p:cNvPr id="12" name="Picture 11" descr="A black and white logo&#10;&#10;Description automatically generated">
            <a:extLst>
              <a:ext uri="{FF2B5EF4-FFF2-40B4-BE49-F238E27FC236}">
                <a16:creationId xmlns:a16="http://schemas.microsoft.com/office/drawing/2014/main" id="{89EA09EA-B06B-8172-BCDD-2DD9D70A501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5142" y="3426958"/>
            <a:ext cx="2613029" cy="522606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B808130-A993-A103-DCD1-2878A6DDDD3A}"/>
              </a:ext>
            </a:extLst>
          </p:cNvPr>
          <p:cNvCxnSpPr/>
          <p:nvPr/>
        </p:nvCxnSpPr>
        <p:spPr>
          <a:xfrm>
            <a:off x="6777872" y="1065229"/>
            <a:ext cx="0" cy="32145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48861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6252F70C-7451-43D8-BCCA-E373881D67B0}"/>
              </a:ext>
            </a:extLst>
          </p:cNvPr>
          <p:cNvGraphicFramePr>
            <a:graphicFrameLocks/>
          </p:cNvGraphicFramePr>
          <p:nvPr/>
        </p:nvGraphicFramePr>
        <p:xfrm>
          <a:off x="-782320" y="857792"/>
          <a:ext cx="8900160" cy="4958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7FA806DC-EFBD-79EE-14A5-548A37AD61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39583" y="-1"/>
            <a:ext cx="4852417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6BC285B-3F91-43BA-B1EB-35CEB5A5F56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65978"/>
          <a:stretch/>
        </p:blipFill>
        <p:spPr>
          <a:xfrm>
            <a:off x="10686503" y="365674"/>
            <a:ext cx="1505497" cy="165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52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81F376-67E4-EF7B-1622-2D1A281931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1AA67BE7-0C2C-F940-F555-B1D254EE102B}"/>
              </a:ext>
            </a:extLst>
          </p:cNvPr>
          <p:cNvSpPr/>
          <p:nvPr/>
        </p:nvSpPr>
        <p:spPr>
          <a:xfrm>
            <a:off x="255448" y="559857"/>
            <a:ext cx="11681103" cy="45501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A6A2"/>
                </a:solidFill>
                <a:effectLst/>
                <a:uLnTx/>
                <a:uFillTx/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EU-27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A6A2"/>
                </a:solidFill>
                <a:effectLst/>
                <a:uLnTx/>
                <a:uFillTx/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A6A2"/>
                </a:solidFill>
                <a:effectLst/>
                <a:uLnTx/>
                <a:uFillTx/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Trade | </a:t>
            </a:r>
            <a:r>
              <a:rPr lang="en-US" sz="3200" dirty="0">
                <a:solidFill>
                  <a:srgbClr val="00A6A2"/>
                </a:solidFill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M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00A6A2"/>
                </a:solidFill>
                <a:effectLst/>
                <a:uLnTx/>
                <a:uFillTx/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ain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A6A2"/>
                </a:solidFill>
                <a:effectLst/>
                <a:uLnTx/>
                <a:uFillTx/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 export partner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A6A2"/>
                </a:solidFill>
                <a:effectLst/>
                <a:uLnTx/>
                <a:uFillTx/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     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“Switzerland and the </a:t>
            </a:r>
            <a:r>
              <a:rPr kumimoji="0" lang="en-US" b="1" i="0" u="none" kern="1200" cap="none" spc="0" normalizeH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United Kingdom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 are the EU27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mai</a:t>
            </a:r>
            <a:r>
              <a:rPr lang="en-US" b="1" dirty="0">
                <a:solidFill>
                  <a:prstClr val="white">
                    <a:lumMod val="50000"/>
                  </a:prstClr>
                </a:solidFill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n export markets”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Condensed"/>
              <a:ea typeface="Open Sans Condensed" panose="020B0806030504020204" pitchFamily="34" charset="0"/>
              <a:cs typeface="Open Sans Condensed" panose="020B0806030504020204" pitchFamily="34" charset="0"/>
            </a:endParaRPr>
          </a:p>
        </p:txBody>
      </p:sp>
      <p:sp>
        <p:nvSpPr>
          <p:cNvPr id="8" name="CaixaDeTexto 6">
            <a:extLst>
              <a:ext uri="{FF2B5EF4-FFF2-40B4-BE49-F238E27FC236}">
                <a16:creationId xmlns:a16="http://schemas.microsoft.com/office/drawing/2014/main" id="{53984BB1-97C2-B2FE-7D11-417DCBFF88F3}"/>
              </a:ext>
            </a:extLst>
          </p:cNvPr>
          <p:cNvSpPr txBox="1"/>
          <p:nvPr/>
        </p:nvSpPr>
        <p:spPr>
          <a:xfrm>
            <a:off x="7392838" y="6396335"/>
            <a:ext cx="479916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Condensed Light" panose="020B0306030504020204" pitchFamily="34" charset="0"/>
                <a:ea typeface="Open Sans Condensed Light" panose="020B0306030504020204" pitchFamily="34" charset="0"/>
                <a:cs typeface="Open Sans Condensed Light" panose="020B0306030504020204" pitchFamily="34" charset="0"/>
              </a:rPr>
              <a:t>Source: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Condensed Light" panose="020B0306030504020204" pitchFamily="34" charset="0"/>
              <a:ea typeface="Open Sans Condensed Light" panose="020B0306030504020204" pitchFamily="34" charset="0"/>
              <a:cs typeface="Open Sans Condensed Light" panose="020B030603050402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Open Sans Condensed Light" panose="020B0306030504020204" pitchFamily="34" charset="0"/>
                <a:ea typeface="Open Sans Condensed Light" panose="020B0306030504020204" pitchFamily="34" charset="0"/>
                <a:cs typeface="Open Sans Condensed Light" panose="020B0306030504020204" pitchFamily="34" charset="0"/>
              </a:rPr>
              <a:t> EURATEX, based on IHS-Eurosta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98C2BBC-EEA2-B2DC-0CD2-D267027E702B}"/>
              </a:ext>
            </a:extLst>
          </p:cNvPr>
          <p:cNvGrpSpPr/>
          <p:nvPr/>
        </p:nvGrpSpPr>
        <p:grpSpPr>
          <a:xfrm>
            <a:off x="7607203" y="1643505"/>
            <a:ext cx="1652719" cy="1439693"/>
            <a:chOff x="9496963" y="1510548"/>
            <a:chExt cx="1652719" cy="143969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E265ED5-47A6-8437-8F24-12A71A7213C8}"/>
                </a:ext>
              </a:extLst>
            </p:cNvPr>
            <p:cNvSpPr txBox="1"/>
            <p:nvPr/>
          </p:nvSpPr>
          <p:spPr>
            <a:xfrm>
              <a:off x="9687914" y="1845673"/>
              <a:ext cx="1461768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dirty="0">
                  <a:solidFill>
                    <a:srgbClr val="006666"/>
                  </a:solidFill>
                  <a:latin typeface="Open Sans Condensed"/>
                  <a:ea typeface="Open Sans Condensed" panose="020B0806030504020204" pitchFamily="34" charset="0"/>
                  <a:cs typeface="Open Sans Condensed" panose="020B0806030504020204" pitchFamily="34" charset="0"/>
                </a:rPr>
                <a:t>64</a:t>
              </a:r>
            </a:p>
            <a:p>
              <a:r>
                <a:rPr lang="en-GB" sz="1200" dirty="0">
                  <a:solidFill>
                    <a:srgbClr val="006666"/>
                  </a:solidFill>
                  <a:latin typeface="Open Sans Condensed"/>
                  <a:ea typeface="Open Sans Condensed" panose="020B0806030504020204" pitchFamily="34" charset="0"/>
                  <a:cs typeface="Open Sans Condensed" panose="020B0806030504020204" pitchFamily="34" charset="0"/>
                </a:rPr>
                <a:t>billion EUR</a:t>
              </a:r>
            </a:p>
            <a:p>
              <a:r>
                <a:rPr lang="en-GB" sz="1200" dirty="0">
                  <a:solidFill>
                    <a:srgbClr val="006666"/>
                  </a:solidFill>
                  <a:latin typeface="Open Sans Condensed"/>
                  <a:ea typeface="Open Sans Condensed" panose="020B0806030504020204" pitchFamily="34" charset="0"/>
                  <a:cs typeface="Open Sans Condensed" panose="020B0806030504020204" pitchFamily="34" charset="0"/>
                </a:rPr>
                <a:t>T&amp;C EU exports</a:t>
              </a:r>
              <a:endParaRPr lang="en-BE" sz="1200" dirty="0">
                <a:solidFill>
                  <a:srgbClr val="006666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B17312E6-692E-BB26-1A54-7A6A33B2FC54}"/>
                </a:ext>
              </a:extLst>
            </p:cNvPr>
            <p:cNvSpPr/>
            <p:nvPr/>
          </p:nvSpPr>
          <p:spPr>
            <a:xfrm>
              <a:off x="9496963" y="1510548"/>
              <a:ext cx="1461767" cy="1439693"/>
            </a:xfrm>
            <a:prstGeom prst="ellipse">
              <a:avLst/>
            </a:prstGeom>
            <a:solidFill>
              <a:schemeClr val="accent1">
                <a:alpha val="26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 dirty="0"/>
            </a:p>
          </p:txBody>
        </p:sp>
      </p:grp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D88F7C5-2C79-0071-A91B-C7639EACB27E}"/>
              </a:ext>
            </a:extLst>
          </p:cNvPr>
          <p:cNvGraphicFramePr/>
          <p:nvPr/>
        </p:nvGraphicFramePr>
        <p:xfrm>
          <a:off x="979579" y="1643505"/>
          <a:ext cx="9439219" cy="49102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185751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322ED4-0FAE-5F20-3F2E-33934C6088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2961A80-2CE1-156F-2B2C-D011E771D53C}"/>
              </a:ext>
            </a:extLst>
          </p:cNvPr>
          <p:cNvSpPr/>
          <p:nvPr/>
        </p:nvSpPr>
        <p:spPr>
          <a:xfrm>
            <a:off x="370949" y="737980"/>
            <a:ext cx="11681103" cy="45501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A6A2"/>
                </a:solidFill>
                <a:effectLst/>
                <a:uLnTx/>
                <a:uFillTx/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EU-27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A6A2"/>
                </a:solidFill>
                <a:effectLst/>
                <a:uLnTx/>
                <a:uFillTx/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A6A2"/>
                </a:solidFill>
                <a:effectLst/>
                <a:uLnTx/>
                <a:uFillTx/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Trade | </a:t>
            </a:r>
            <a:r>
              <a:rPr lang="en-US" sz="3200" dirty="0">
                <a:solidFill>
                  <a:srgbClr val="00A6A2"/>
                </a:solidFill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M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00A6A2"/>
                </a:solidFill>
                <a:effectLst/>
                <a:uLnTx/>
                <a:uFillTx/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ain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A6A2"/>
                </a:solidFill>
                <a:effectLst/>
                <a:uLnTx/>
                <a:uFillTx/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 import partner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A6A2"/>
                </a:solidFill>
                <a:effectLst/>
                <a:uLnTx/>
                <a:uFillTx/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     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“</a:t>
            </a:r>
            <a:r>
              <a:rPr lang="en-US" sz="2800" b="1" dirty="0">
                <a:solidFill>
                  <a:prstClr val="white">
                    <a:lumMod val="50000"/>
                  </a:prstClr>
                </a:solidFill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1/3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of T&amp;C products sold to EU markets are made in China</a:t>
            </a:r>
            <a:r>
              <a:rPr lang="en-US" sz="2800" b="1" dirty="0">
                <a:solidFill>
                  <a:prstClr val="white">
                    <a:lumMod val="50000"/>
                  </a:prstClr>
                </a:solidFill>
                <a:latin typeface="Open Sans Condensed"/>
                <a:ea typeface="Open Sans Condensed" panose="020B0806030504020204" pitchFamily="34" charset="0"/>
                <a:cs typeface="Open Sans Condensed" panose="020B0806030504020204" pitchFamily="34" charset="0"/>
              </a:rPr>
              <a:t>”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Condensed"/>
              <a:ea typeface="Open Sans Condensed" panose="020B0806030504020204" pitchFamily="34" charset="0"/>
              <a:cs typeface="Open Sans Condensed" panose="020B0806030504020204" pitchFamily="34" charset="0"/>
            </a:endParaRPr>
          </a:p>
        </p:txBody>
      </p:sp>
      <p:sp>
        <p:nvSpPr>
          <p:cNvPr id="8" name="CaixaDeTexto 6">
            <a:extLst>
              <a:ext uri="{FF2B5EF4-FFF2-40B4-BE49-F238E27FC236}">
                <a16:creationId xmlns:a16="http://schemas.microsoft.com/office/drawing/2014/main" id="{1431A2E2-4A99-8C78-C7B9-A6E761E6801E}"/>
              </a:ext>
            </a:extLst>
          </p:cNvPr>
          <p:cNvSpPr txBox="1"/>
          <p:nvPr/>
        </p:nvSpPr>
        <p:spPr>
          <a:xfrm>
            <a:off x="7392838" y="6396335"/>
            <a:ext cx="479916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Condensed Light" panose="020B0306030504020204" pitchFamily="34" charset="0"/>
                <a:ea typeface="Open Sans Condensed Light" panose="020B0306030504020204" pitchFamily="34" charset="0"/>
                <a:cs typeface="Open Sans Condensed Light" panose="020B0306030504020204" pitchFamily="34" charset="0"/>
              </a:rPr>
              <a:t>Source: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Condensed Light" panose="020B0306030504020204" pitchFamily="34" charset="0"/>
              <a:ea typeface="Open Sans Condensed Light" panose="020B0306030504020204" pitchFamily="34" charset="0"/>
              <a:cs typeface="Open Sans Condensed Light" panose="020B030603050402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Open Sans Condensed Light" panose="020B0306030504020204" pitchFamily="34" charset="0"/>
                <a:ea typeface="Open Sans Condensed Light" panose="020B0306030504020204" pitchFamily="34" charset="0"/>
                <a:cs typeface="Open Sans Condensed Light" panose="020B0306030504020204" pitchFamily="34" charset="0"/>
              </a:rPr>
              <a:t> EURATEX, based on IHS-Eurosta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227B23D-4FA7-72C6-AB4E-3D2F2A7DB4F9}"/>
              </a:ext>
            </a:extLst>
          </p:cNvPr>
          <p:cNvGrpSpPr/>
          <p:nvPr/>
        </p:nvGrpSpPr>
        <p:grpSpPr>
          <a:xfrm>
            <a:off x="7990380" y="1358971"/>
            <a:ext cx="2221568" cy="1439693"/>
            <a:chOff x="9645009" y="1028045"/>
            <a:chExt cx="2221568" cy="143969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1ED3E31-24B2-0DE5-9B6F-4C6FF5234039}"/>
                </a:ext>
              </a:extLst>
            </p:cNvPr>
            <p:cNvSpPr txBox="1"/>
            <p:nvPr/>
          </p:nvSpPr>
          <p:spPr>
            <a:xfrm>
              <a:off x="9802502" y="1293380"/>
              <a:ext cx="2064075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dirty="0">
                  <a:solidFill>
                    <a:srgbClr val="006666"/>
                  </a:solidFill>
                  <a:latin typeface="Open Sans Condensed"/>
                  <a:ea typeface="Open Sans Condensed" panose="020B0806030504020204" pitchFamily="34" charset="0"/>
                  <a:cs typeface="Open Sans Condensed" panose="020B0806030504020204" pitchFamily="34" charset="0"/>
                </a:rPr>
                <a:t>115</a:t>
              </a:r>
            </a:p>
            <a:p>
              <a:r>
                <a:rPr lang="en-GB" sz="1200" dirty="0">
                  <a:solidFill>
                    <a:srgbClr val="006666"/>
                  </a:solidFill>
                  <a:latin typeface="Open Sans Condensed"/>
                  <a:ea typeface="Open Sans Condensed" panose="020B0806030504020204" pitchFamily="34" charset="0"/>
                  <a:cs typeface="Open Sans Condensed" panose="020B0806030504020204" pitchFamily="34" charset="0"/>
                </a:rPr>
                <a:t>billion EUR</a:t>
              </a:r>
            </a:p>
            <a:p>
              <a:r>
                <a:rPr lang="en-GB" sz="1200" dirty="0">
                  <a:solidFill>
                    <a:srgbClr val="006666"/>
                  </a:solidFill>
                  <a:latin typeface="Open Sans Condensed"/>
                  <a:ea typeface="Open Sans Condensed" panose="020B0806030504020204" pitchFamily="34" charset="0"/>
                  <a:cs typeface="Open Sans Condensed" panose="020B0806030504020204" pitchFamily="34" charset="0"/>
                </a:rPr>
                <a:t>T&amp;C EU imports</a:t>
              </a:r>
              <a:endParaRPr lang="en-BE" sz="1200" dirty="0">
                <a:solidFill>
                  <a:srgbClr val="006666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BB70EE67-A99D-1CEB-35ED-EAF74E73BEBA}"/>
                </a:ext>
              </a:extLst>
            </p:cNvPr>
            <p:cNvSpPr/>
            <p:nvPr/>
          </p:nvSpPr>
          <p:spPr>
            <a:xfrm>
              <a:off x="9645009" y="1028045"/>
              <a:ext cx="1461767" cy="1439693"/>
            </a:xfrm>
            <a:prstGeom prst="ellipse">
              <a:avLst/>
            </a:prstGeom>
            <a:solidFill>
              <a:schemeClr val="accent1">
                <a:alpha val="26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 dirty="0"/>
            </a:p>
          </p:txBody>
        </p:sp>
      </p:grp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9947E591-06E8-E369-F0A4-A2BDE28AC746}"/>
              </a:ext>
            </a:extLst>
          </p:cNvPr>
          <p:cNvGraphicFramePr/>
          <p:nvPr/>
        </p:nvGraphicFramePr>
        <p:xfrm>
          <a:off x="1567825" y="1705374"/>
          <a:ext cx="9287349" cy="4921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393694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CD32C854-2FA6-44CB-BBFF-FF16391E2AA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9253319"/>
              </p:ext>
            </p:extLst>
          </p:nvPr>
        </p:nvGraphicFramePr>
        <p:xfrm>
          <a:off x="557347" y="600892"/>
          <a:ext cx="10685417" cy="5512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975905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1A86D5E-604F-6BCE-6ABF-0B9CA4CA61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364081">
            <a:off x="4344534" y="970595"/>
            <a:ext cx="7016618" cy="4916809"/>
          </a:xfrm>
          <a:prstGeom prst="rect">
            <a:avLst/>
          </a:prstGeom>
          <a:ln>
            <a:solidFill>
              <a:schemeClr val="accent3">
                <a:lumMod val="50000"/>
              </a:schemeClr>
            </a:solidFill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4F9D2F2-DE74-1B0C-94FF-4C17BCDD47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617" y="2855276"/>
            <a:ext cx="2688569" cy="268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3001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125D68"/>
      </a:lt1>
      <a:dk2>
        <a:srgbClr val="000000"/>
      </a:dk2>
      <a:lt2>
        <a:srgbClr val="000000"/>
      </a:lt2>
      <a:accent1>
        <a:srgbClr val="FFFFFF"/>
      </a:accent1>
      <a:accent2>
        <a:srgbClr val="5A9F9F"/>
      </a:accent2>
      <a:accent3>
        <a:srgbClr val="CCB42D"/>
      </a:accent3>
      <a:accent4>
        <a:srgbClr val="E3D712"/>
      </a:accent4>
      <a:accent5>
        <a:srgbClr val="284880"/>
      </a:accent5>
      <a:accent6>
        <a:srgbClr val="7C9ACC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125D68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5A9F9F"/>
        </a:accent2>
        <a:accent3>
          <a:srgbClr val="CCB42D"/>
        </a:accent3>
        <a:accent4>
          <a:srgbClr val="E3D712"/>
        </a:accent4>
        <a:accent5>
          <a:srgbClr val="284880"/>
        </a:accent5>
        <a:accent6>
          <a:srgbClr val="7C9ACC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8161VN_OFF_V1.potx" id="{1D129F35-F8DB-44A5-AADE-2856D535739E}" vid="{8E7B4F51-0349-4AD9-817C-FAC50E17DE3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5">
    <a:dk1>
      <a:srgbClr val="424242"/>
    </a:dk1>
    <a:lt1>
      <a:srgbClr val="FFFFFF"/>
    </a:lt1>
    <a:dk2>
      <a:srgbClr val="D9D9D9"/>
    </a:dk2>
    <a:lt2>
      <a:srgbClr val="BF9000"/>
    </a:lt2>
    <a:accent1>
      <a:srgbClr val="006666"/>
    </a:accent1>
    <a:accent2>
      <a:srgbClr val="00ACA8"/>
    </a:accent2>
    <a:accent3>
      <a:srgbClr val="B9FFFF"/>
    </a:accent3>
    <a:accent4>
      <a:srgbClr val="FFC000"/>
    </a:accent4>
    <a:accent5>
      <a:srgbClr val="00FFFA"/>
    </a:accent5>
    <a:accent6>
      <a:srgbClr val="006666"/>
    </a:accent6>
    <a:hlink>
      <a:srgbClr val="5F5F5F"/>
    </a:hlink>
    <a:folHlink>
      <a:srgbClr val="006666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0ea955f-84a9-481f-9274-802af16bd87b">
      <UserInfo>
        <DisplayName/>
        <AccountId xsi:nil="true"/>
        <AccountType/>
      </UserInfo>
    </SharedWithUsers>
    <MediaLengthInSeconds xmlns="a648fbf4-0a50-4016-aecd-a6ad14d661a8" xsi:nil="true"/>
    <TaxCatchAll xmlns="40ea955f-84a9-481f-9274-802af16bd87b" xsi:nil="true"/>
    <lcf76f155ced4ddcb4097134ff3c332f xmlns="a648fbf4-0a50-4016-aecd-a6ad14d661a8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0497EDBDA8084284E319F7F4922B88" ma:contentTypeVersion="18" ma:contentTypeDescription="Crée un document." ma:contentTypeScope="" ma:versionID="544ea3fcaaf1887fefeab8b05d3b90a9">
  <xsd:schema xmlns:xsd="http://www.w3.org/2001/XMLSchema" xmlns:xs="http://www.w3.org/2001/XMLSchema" xmlns:p="http://schemas.microsoft.com/office/2006/metadata/properties" xmlns:ns2="a648fbf4-0a50-4016-aecd-a6ad14d661a8" xmlns:ns3="40ea955f-84a9-481f-9274-802af16bd87b" targetNamespace="http://schemas.microsoft.com/office/2006/metadata/properties" ma:root="true" ma:fieldsID="d97536305004b3194c7d1afa0e5943f1" ns2:_="" ns3:_="">
    <xsd:import namespace="a648fbf4-0a50-4016-aecd-a6ad14d661a8"/>
    <xsd:import namespace="40ea955f-84a9-481f-9274-802af16bd87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48fbf4-0a50-4016-aecd-a6ad14d661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8dde0316-2ef7-4688-a57d-086834e4e64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ea955f-84a9-481f-9274-802af16bd87b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aab1d7b4-887b-41c9-b70d-f4af4992f9f1}" ma:internalName="TaxCatchAll" ma:showField="CatchAllData" ma:web="40ea955f-84a9-481f-9274-802af16bd87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D43E37E-A943-42CD-982C-B0BD5547012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F91D0B9-8988-4442-BAA9-3D9932E8C343}">
  <ds:schemaRefs>
    <ds:schemaRef ds:uri="http://schemas.microsoft.com/office/2006/documentManagement/types"/>
    <ds:schemaRef ds:uri="http://purl.org/dc/elements/1.1/"/>
    <ds:schemaRef ds:uri="a648fbf4-0a50-4016-aecd-a6ad14d661a8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40ea955f-84a9-481f-9274-802af16bd87b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7EBE93DA-E63C-422B-96C6-1969ED06FC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648fbf4-0a50-4016-aecd-a6ad14d661a8"/>
    <ds:schemaRef ds:uri="40ea955f-84a9-481f-9274-802af16bd87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6</Words>
  <Application>Microsoft Office PowerPoint</Application>
  <PresentationFormat>Widescreen</PresentationFormat>
  <Paragraphs>91</Paragraphs>
  <Slides>1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3" baseType="lpstr">
      <vt:lpstr>Aptos</vt:lpstr>
      <vt:lpstr>Arial</vt:lpstr>
      <vt:lpstr>Calibri</vt:lpstr>
      <vt:lpstr>Calibri Light</vt:lpstr>
      <vt:lpstr>DM Sans</vt:lpstr>
      <vt:lpstr>Muli Light</vt:lpstr>
      <vt:lpstr>Open Sans Condensed</vt:lpstr>
      <vt:lpstr>Open Sans Condensed Light</vt:lpstr>
      <vt:lpstr>Segoe UI</vt:lpstr>
      <vt:lpstr>Wingdings</vt:lpstr>
      <vt:lpstr>Office Theme</vt:lpstr>
      <vt:lpstr>Custom Design</vt:lpstr>
      <vt:lpstr>Contras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ocus on implem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covery and Sustainability  EURATEX Strategic Proposals</dc:title>
  <dc:creator>Dirk Vantyghem</dc:creator>
  <cp:lastModifiedBy>Dirk Vantyghem</cp:lastModifiedBy>
  <cp:revision>52</cp:revision>
  <cp:lastPrinted>2024-04-11T08:06:21Z</cp:lastPrinted>
  <dcterms:created xsi:type="dcterms:W3CDTF">2020-09-16T20:06:26Z</dcterms:created>
  <dcterms:modified xsi:type="dcterms:W3CDTF">2024-06-10T21:3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0497EDBDA8084284E319F7F4922B88</vt:lpwstr>
  </property>
  <property fmtid="{D5CDD505-2E9C-101B-9397-08002B2CF9AE}" pid="3" name="ComplianceAssetId">
    <vt:lpwstr/>
  </property>
  <property fmtid="{D5CDD505-2E9C-101B-9397-08002B2CF9AE}" pid="4" name="_ExtendedDescription">
    <vt:lpwstr/>
  </property>
  <property fmtid="{D5CDD505-2E9C-101B-9397-08002B2CF9AE}" pid="5" name="MediaServiceImageTags">
    <vt:lpwstr/>
  </property>
  <property fmtid="{D5CDD505-2E9C-101B-9397-08002B2CF9AE}" pid="6" name="TriggerFlowInfo">
    <vt:lpwstr/>
  </property>
</Properties>
</file>